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9" r:id="rId5"/>
    <p:sldMasterId id="2147483780" r:id="rId6"/>
    <p:sldMasterId id="2147483810" r:id="rId7"/>
    <p:sldMasterId id="2147483825" r:id="rId8"/>
    <p:sldMasterId id="2147483857" r:id="rId9"/>
  </p:sldMasterIdLst>
  <p:notesMasterIdLst>
    <p:notesMasterId r:id="rId18"/>
  </p:notesMasterIdLst>
  <p:handoutMasterIdLst>
    <p:handoutMasterId r:id="rId19"/>
  </p:handoutMasterIdLst>
  <p:sldIdLst>
    <p:sldId id="2049" r:id="rId10"/>
    <p:sldId id="2056" r:id="rId11"/>
    <p:sldId id="1824" r:id="rId12"/>
    <p:sldId id="1825" r:id="rId13"/>
    <p:sldId id="1822" r:id="rId14"/>
    <p:sldId id="1819" r:id="rId15"/>
    <p:sldId id="2145709510" r:id="rId16"/>
    <p:sldId id="2055" r:id="rId17"/>
  </p:sldIdLst>
  <p:sldSz cx="12192000" cy="6858000"/>
  <p:notesSz cx="6742113" cy="987266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6" userDrawn="1">
          <p15:clr>
            <a:srgbClr val="A4A3A4"/>
          </p15:clr>
        </p15:guide>
        <p15:guide id="2" pos="1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ECEC"/>
    <a:srgbClr val="E63C2B"/>
    <a:srgbClr val="7DBA02"/>
    <a:srgbClr val="FDC60D"/>
    <a:srgbClr val="959B51"/>
    <a:srgbClr val="F37920"/>
    <a:srgbClr val="0098AF"/>
    <a:srgbClr val="8CBE3A"/>
    <a:srgbClr val="E42313"/>
    <a:srgbClr val="D32E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77" autoAdjust="0"/>
    <p:restoredTop sz="92085" autoAdjust="0"/>
  </p:normalViewPr>
  <p:slideViewPr>
    <p:cSldViewPr snapToGrid="0">
      <p:cViewPr varScale="1">
        <p:scale>
          <a:sx n="60" d="100"/>
          <a:sy n="60" d="100"/>
        </p:scale>
        <p:origin x="924" y="52"/>
      </p:cViewPr>
      <p:guideLst>
        <p:guide orient="horz" pos="436"/>
        <p:guide pos="1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4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6.xml"/><Relationship Id="rId23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5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FD26062-7206-42FE-A191-BB5A3F24A2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410131-BC1B-4C83-BAA0-CD13BC2812C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E9E0EE-1DCB-4F30-B077-464F007E46A9}" type="datetimeFigureOut">
              <a:rPr lang="en-GB" smtClean="0"/>
              <a:t>12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B17F80-520F-4F97-9BFD-F218B23CB8E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7317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D9C2C7-6FAF-40EA-AAF4-3EFD6C389A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8971" y="9377317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FBB4C9-A071-41E4-892E-F03D70EA8B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1256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CE7D0A-618D-469D-A0F6-7E10C3D47CE6}" type="datetimeFigureOut">
              <a:rPr lang="en-GB" smtClean="0"/>
              <a:t>12/03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22963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2" y="4751219"/>
            <a:ext cx="539369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1" y="9377317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43C31-A911-4174-806B-8AA6C10B71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16444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b="0" i="0" u="none" strike="noStrike">
                <a:solidFill>
                  <a:srgbClr val="2C363A"/>
                </a:solidFill>
                <a:effectLst/>
                <a:latin typeface="Calibri" panose="020F0502020204030204" pitchFamily="34" charset="0"/>
              </a:rPr>
              <a:t>Growth and Reinvent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843C31-A911-4174-806B-8AA6C10B71F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89993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Certificate must be done by a SANAS accredited verification agency. This is checked on the SANAS website to confirm the Verification Agenc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843C31-A911-4174-806B-8AA6C10B71F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09885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1.jpeg"/><Relationship Id="rId5" Type="http://schemas.openxmlformats.org/officeDocument/2006/relationships/image" Target="../media/image40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1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4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1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5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1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5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6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Relationship Id="rId14" Type="http://schemas.openxmlformats.org/officeDocument/2006/relationships/image" Target="../media/image38.png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2.emf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1.jpeg"/><Relationship Id="rId5" Type="http://schemas.openxmlformats.org/officeDocument/2006/relationships/image" Target="../media/image40.emf"/><Relationship Id="rId4" Type="http://schemas.openxmlformats.org/officeDocument/2006/relationships/oleObject" Target="../embeddings/oleObject8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1.jpeg"/><Relationship Id="rId5" Type="http://schemas.openxmlformats.org/officeDocument/2006/relationships/image" Target="../media/image40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7456" y="1783669"/>
            <a:ext cx="4581382" cy="430887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47456" y="2728306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B3F589F-2371-83D8-F684-3450621F48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6798" y="260004"/>
            <a:ext cx="1428987" cy="97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3083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EE5FA182-F7DE-7FF9-AF9F-6B97D1F061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A525C38-6FFD-DE61-F2F9-A74DA63DDA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2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2532" y="1559081"/>
            <a:ext cx="4205747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18410172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7456" y="1783669"/>
            <a:ext cx="4581382" cy="430887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47456" y="2728306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B3F589F-2371-83D8-F684-3450621F48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6798" y="260004"/>
            <a:ext cx="1428987" cy="97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74393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559081"/>
            <a:ext cx="5741486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0BD579-4CC2-EDC1-6F2E-4E4E271189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6798" y="260004"/>
            <a:ext cx="1428987" cy="97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23127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 descr="A desk with technical drawings, pencil and tools">
            <a:extLst>
              <a:ext uri="{FF2B5EF4-FFF2-40B4-BE49-F238E27FC236}">
                <a16:creationId xmlns:a16="http://schemas.microsoft.com/office/drawing/2014/main" id="{34BADCB9-88FF-853F-7CB9-967EA4291D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3065186"/>
            <a:ext cx="2735044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350365354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>
            <a:extLst>
              <a:ext uri="{FF2B5EF4-FFF2-40B4-BE49-F238E27FC236}">
                <a16:creationId xmlns:a16="http://schemas.microsoft.com/office/drawing/2014/main" id="{34BADCB9-88FF-853F-7CB9-967EA4291D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6A86DB4-8A0E-5852-A8CA-D1F0D4A0FEF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16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3065186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74972839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15" descr="Aerial view of container ship">
            <a:extLst>
              <a:ext uri="{FF2B5EF4-FFF2-40B4-BE49-F238E27FC236}">
                <a16:creationId xmlns:a16="http://schemas.microsoft.com/office/drawing/2014/main" id="{7B4597E5-7462-D917-B3FC-691CFD46CE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318881640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15">
            <a:extLst>
              <a:ext uri="{FF2B5EF4-FFF2-40B4-BE49-F238E27FC236}">
                <a16:creationId xmlns:a16="http://schemas.microsoft.com/office/drawing/2014/main" id="{7B4597E5-7462-D917-B3FC-691CFD46CE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7895" y="339079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077D36-9B62-FD3B-4F96-ED9C71D7A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07808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37444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3419BA2B-CD57-53EE-397D-95B77E2910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7895" y="3429000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323907A-9933-E4B0-2CF7-72CC82888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5472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3419BA2B-CD57-53EE-397D-95B77E2910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8506" y="3308789"/>
            <a:ext cx="5099774" cy="484025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here and here and here</a:t>
            </a:r>
            <a:endParaRPr lang="en-GB" sz="24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B194933-7819-E06D-72CA-3D249A06F1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07808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66055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EE5FA182-F7DE-7FF9-AF9F-6B97D1F061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559081"/>
            <a:ext cx="5741486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308391732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EE5FA182-F7DE-7FF9-AF9F-6B97D1F061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A525C38-6FFD-DE61-F2F9-A74DA63DDA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2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2532" y="1559081"/>
            <a:ext cx="4205747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5121188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C3784C0-AEDF-10DD-4608-3BD04462041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6932" y="1559081"/>
            <a:ext cx="4561347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sp>
        <p:nvSpPr>
          <p:cNvPr id="3" name="Graphic 4">
            <a:extLst>
              <a:ext uri="{FF2B5EF4-FFF2-40B4-BE49-F238E27FC236}">
                <a16:creationId xmlns:a16="http://schemas.microsoft.com/office/drawing/2014/main" id="{D1BD1A9C-0B6C-5E16-67BF-F46E6D548358}"/>
              </a:ext>
            </a:extLst>
          </p:cNvPr>
          <p:cNvSpPr/>
          <p:nvPr userDrawn="1"/>
        </p:nvSpPr>
        <p:spPr>
          <a:xfrm>
            <a:off x="629600" y="913946"/>
            <a:ext cx="9089796" cy="5365238"/>
          </a:xfrm>
          <a:custGeom>
            <a:avLst/>
            <a:gdLst>
              <a:gd name="connsiteX0" fmla="*/ 2718340 w 6829615"/>
              <a:gd name="connsiteY0" fmla="*/ 4031171 h 4031170"/>
              <a:gd name="connsiteX1" fmla="*/ 2288381 w 6829615"/>
              <a:gd name="connsiteY1" fmla="*/ 4028504 h 4031170"/>
              <a:gd name="connsiteX2" fmla="*/ 1978724 w 6829615"/>
              <a:gd name="connsiteY2" fmla="*/ 3663887 h 4031170"/>
              <a:gd name="connsiteX3" fmla="*/ 1978724 w 6829615"/>
              <a:gd name="connsiteY3" fmla="*/ 3314129 h 4031170"/>
              <a:gd name="connsiteX4" fmla="*/ 1742980 w 6829615"/>
              <a:gd name="connsiteY4" fmla="*/ 2885599 h 4031170"/>
              <a:gd name="connsiteX5" fmla="*/ 1743742 w 6829615"/>
              <a:gd name="connsiteY5" fmla="*/ 2627662 h 4031170"/>
              <a:gd name="connsiteX6" fmla="*/ 1603534 w 6829615"/>
              <a:gd name="connsiteY6" fmla="*/ 2383631 h 4031170"/>
              <a:gd name="connsiteX7" fmla="*/ 1603534 w 6829615"/>
              <a:gd name="connsiteY7" fmla="*/ 1988344 h 4031170"/>
              <a:gd name="connsiteX8" fmla="*/ 1563624 w 6829615"/>
              <a:gd name="connsiteY8" fmla="*/ 1916906 h 4031170"/>
              <a:gd name="connsiteX9" fmla="*/ 1009840 w 6829615"/>
              <a:gd name="connsiteY9" fmla="*/ 1916906 h 4031170"/>
              <a:gd name="connsiteX10" fmla="*/ 947833 w 6829615"/>
              <a:gd name="connsiteY10" fmla="*/ 2024443 h 4031170"/>
              <a:gd name="connsiteX11" fmla="*/ 351282 w 6829615"/>
              <a:gd name="connsiteY11" fmla="*/ 2024443 h 4031170"/>
              <a:gd name="connsiteX12" fmla="*/ 0 w 6829615"/>
              <a:gd name="connsiteY12" fmla="*/ 1478661 h 4031170"/>
              <a:gd name="connsiteX13" fmla="*/ 0 w 6829615"/>
              <a:gd name="connsiteY13" fmla="*/ 860965 h 4031170"/>
              <a:gd name="connsiteX14" fmla="*/ 512636 w 6829615"/>
              <a:gd name="connsiteY14" fmla="*/ 0 h 4031170"/>
              <a:gd name="connsiteX15" fmla="*/ 1361408 w 6829615"/>
              <a:gd name="connsiteY15" fmla="*/ 0 h 4031170"/>
              <a:gd name="connsiteX16" fmla="*/ 1537526 w 6829615"/>
              <a:gd name="connsiteY16" fmla="*/ 290417 h 4031170"/>
              <a:gd name="connsiteX17" fmla="*/ 1638967 w 6829615"/>
              <a:gd name="connsiteY17" fmla="*/ 289751 h 4031170"/>
              <a:gd name="connsiteX18" fmla="*/ 1798130 w 6829615"/>
              <a:gd name="connsiteY18" fmla="*/ 0 h 4031170"/>
              <a:gd name="connsiteX19" fmla="*/ 6829616 w 6829615"/>
              <a:gd name="connsiteY19" fmla="*/ 0 h 4031170"/>
              <a:gd name="connsiteX20" fmla="*/ 6829616 w 6829615"/>
              <a:gd name="connsiteY20" fmla="*/ 161925 h 4031170"/>
              <a:gd name="connsiteX21" fmla="*/ 1893951 w 6829615"/>
              <a:gd name="connsiteY21" fmla="*/ 161925 h 4031170"/>
              <a:gd name="connsiteX22" fmla="*/ 1735169 w 6829615"/>
              <a:gd name="connsiteY22" fmla="*/ 451104 h 4031170"/>
              <a:gd name="connsiteX23" fmla="*/ 1446752 w 6829615"/>
              <a:gd name="connsiteY23" fmla="*/ 452914 h 4031170"/>
              <a:gd name="connsiteX24" fmla="*/ 1270254 w 6829615"/>
              <a:gd name="connsiteY24" fmla="*/ 161925 h 4031170"/>
              <a:gd name="connsiteX25" fmla="*/ 604647 w 6829615"/>
              <a:gd name="connsiteY25" fmla="*/ 161925 h 4031170"/>
              <a:gd name="connsiteX26" fmla="*/ 161925 w 6829615"/>
              <a:gd name="connsiteY26" fmla="*/ 905447 h 4031170"/>
              <a:gd name="connsiteX27" fmla="*/ 161925 w 6829615"/>
              <a:gd name="connsiteY27" fmla="*/ 1431036 h 4031170"/>
              <a:gd name="connsiteX28" fmla="*/ 439674 w 6829615"/>
              <a:gd name="connsiteY28" fmla="*/ 1862518 h 4031170"/>
              <a:gd name="connsiteX29" fmla="*/ 854297 w 6829615"/>
              <a:gd name="connsiteY29" fmla="*/ 1862518 h 4031170"/>
              <a:gd name="connsiteX30" fmla="*/ 916305 w 6829615"/>
              <a:gd name="connsiteY30" fmla="*/ 1754981 h 4031170"/>
              <a:gd name="connsiteX31" fmla="*/ 1658684 w 6829615"/>
              <a:gd name="connsiteY31" fmla="*/ 1754981 h 4031170"/>
              <a:gd name="connsiteX32" fmla="*/ 1765459 w 6829615"/>
              <a:gd name="connsiteY32" fmla="*/ 1946148 h 4031170"/>
              <a:gd name="connsiteX33" fmla="*/ 1765459 w 6829615"/>
              <a:gd name="connsiteY33" fmla="*/ 2340388 h 4031170"/>
              <a:gd name="connsiteX34" fmla="*/ 1905762 w 6829615"/>
              <a:gd name="connsiteY34" fmla="*/ 2584704 h 4031170"/>
              <a:gd name="connsiteX35" fmla="*/ 1905000 w 6829615"/>
              <a:gd name="connsiteY35" fmla="*/ 2844260 h 4031170"/>
              <a:gd name="connsiteX36" fmla="*/ 2140649 w 6829615"/>
              <a:gd name="connsiteY36" fmla="*/ 3272504 h 4031170"/>
              <a:gd name="connsiteX37" fmla="*/ 2140649 w 6829615"/>
              <a:gd name="connsiteY37" fmla="*/ 3604451 h 4031170"/>
              <a:gd name="connsiteX38" fmla="*/ 2363724 w 6829615"/>
              <a:gd name="connsiteY38" fmla="*/ 3867055 h 4031170"/>
              <a:gd name="connsiteX39" fmla="*/ 2627090 w 6829615"/>
              <a:gd name="connsiteY39" fmla="*/ 3868674 h 4031170"/>
              <a:gd name="connsiteX40" fmla="*/ 2764250 w 6829615"/>
              <a:gd name="connsiteY40" fmla="*/ 3640646 h 4031170"/>
              <a:gd name="connsiteX41" fmla="*/ 2764250 w 6829615"/>
              <a:gd name="connsiteY41" fmla="*/ 3422047 h 4031170"/>
              <a:gd name="connsiteX42" fmla="*/ 3150203 w 6829615"/>
              <a:gd name="connsiteY42" fmla="*/ 2817019 h 4031170"/>
              <a:gd name="connsiteX43" fmla="*/ 3150203 w 6829615"/>
              <a:gd name="connsiteY43" fmla="*/ 2411444 h 4031170"/>
              <a:gd name="connsiteX44" fmla="*/ 3374231 w 6829615"/>
              <a:gd name="connsiteY44" fmla="*/ 2058067 h 4031170"/>
              <a:gd name="connsiteX45" fmla="*/ 3595973 w 6829615"/>
              <a:gd name="connsiteY45" fmla="*/ 2060448 h 4031170"/>
              <a:gd name="connsiteX46" fmla="*/ 3872960 w 6829615"/>
              <a:gd name="connsiteY46" fmla="*/ 1576007 h 4031170"/>
              <a:gd name="connsiteX47" fmla="*/ 3284982 w 6829615"/>
              <a:gd name="connsiteY47" fmla="*/ 1576007 h 4031170"/>
              <a:gd name="connsiteX48" fmla="*/ 3057049 w 6829615"/>
              <a:gd name="connsiteY48" fmla="*/ 1184529 h 4031170"/>
              <a:gd name="connsiteX49" fmla="*/ 3057525 w 6829615"/>
              <a:gd name="connsiteY49" fmla="*/ 867728 h 4031170"/>
              <a:gd name="connsiteX50" fmla="*/ 2748724 w 6829615"/>
              <a:gd name="connsiteY50" fmla="*/ 440912 h 4031170"/>
              <a:gd name="connsiteX51" fmla="*/ 2058638 w 6829615"/>
              <a:gd name="connsiteY51" fmla="*/ 440912 h 4031170"/>
              <a:gd name="connsiteX52" fmla="*/ 1873853 w 6829615"/>
              <a:gd name="connsiteY52" fmla="*/ 778097 h 4031170"/>
              <a:gd name="connsiteX53" fmla="*/ 1305116 w 6829615"/>
              <a:gd name="connsiteY53" fmla="*/ 778097 h 4031170"/>
              <a:gd name="connsiteX54" fmla="*/ 1102233 w 6829615"/>
              <a:gd name="connsiteY54" fmla="*/ 431387 h 4031170"/>
              <a:gd name="connsiteX55" fmla="*/ 739426 w 6829615"/>
              <a:gd name="connsiteY55" fmla="*/ 431387 h 4031170"/>
              <a:gd name="connsiteX56" fmla="*/ 421196 w 6829615"/>
              <a:gd name="connsiteY56" fmla="*/ 995077 h 4031170"/>
              <a:gd name="connsiteX57" fmla="*/ 428435 w 6829615"/>
              <a:gd name="connsiteY57" fmla="*/ 1339787 h 4031170"/>
              <a:gd name="connsiteX58" fmla="*/ 598075 w 6829615"/>
              <a:gd name="connsiteY58" fmla="*/ 1584389 h 4031170"/>
              <a:gd name="connsiteX59" fmla="*/ 720471 w 6829615"/>
              <a:gd name="connsiteY59" fmla="*/ 1584389 h 4031170"/>
              <a:gd name="connsiteX60" fmla="*/ 823817 w 6829615"/>
              <a:gd name="connsiteY60" fmla="*/ 1449229 h 4031170"/>
              <a:gd name="connsiteX61" fmla="*/ 1788795 w 6829615"/>
              <a:gd name="connsiteY61" fmla="*/ 1449229 h 4031170"/>
              <a:gd name="connsiteX62" fmla="*/ 2030825 w 6829615"/>
              <a:gd name="connsiteY62" fmla="*/ 1890046 h 4031170"/>
              <a:gd name="connsiteX63" fmla="*/ 2030825 w 6829615"/>
              <a:gd name="connsiteY63" fmla="*/ 2294763 h 4031170"/>
              <a:gd name="connsiteX64" fmla="*/ 2171414 w 6829615"/>
              <a:gd name="connsiteY64" fmla="*/ 2536222 h 4031170"/>
              <a:gd name="connsiteX65" fmla="*/ 2171414 w 6829615"/>
              <a:gd name="connsiteY65" fmla="*/ 2782348 h 4031170"/>
              <a:gd name="connsiteX66" fmla="*/ 2424017 w 6829615"/>
              <a:gd name="connsiteY66" fmla="*/ 3204782 h 4031170"/>
              <a:gd name="connsiteX67" fmla="*/ 2424017 w 6829615"/>
              <a:gd name="connsiteY67" fmla="*/ 3455861 h 4031170"/>
              <a:gd name="connsiteX68" fmla="*/ 2493740 w 6829615"/>
              <a:gd name="connsiteY68" fmla="*/ 3546824 h 4031170"/>
              <a:gd name="connsiteX69" fmla="*/ 2523554 w 6829615"/>
              <a:gd name="connsiteY69" fmla="*/ 3497485 h 4031170"/>
              <a:gd name="connsiteX70" fmla="*/ 2523554 w 6829615"/>
              <a:gd name="connsiteY70" fmla="*/ 3311366 h 4031170"/>
              <a:gd name="connsiteX71" fmla="*/ 2882741 w 6829615"/>
              <a:gd name="connsiteY71" fmla="*/ 2736723 h 4031170"/>
              <a:gd name="connsiteX72" fmla="*/ 2885694 w 6829615"/>
              <a:gd name="connsiteY72" fmla="*/ 2291906 h 4031170"/>
              <a:gd name="connsiteX73" fmla="*/ 3159919 w 6829615"/>
              <a:gd name="connsiteY73" fmla="*/ 1831372 h 4031170"/>
              <a:gd name="connsiteX74" fmla="*/ 3448907 w 6829615"/>
              <a:gd name="connsiteY74" fmla="*/ 1830324 h 4031170"/>
              <a:gd name="connsiteX75" fmla="*/ 3463671 w 6829615"/>
              <a:gd name="connsiteY75" fmla="*/ 1805464 h 4031170"/>
              <a:gd name="connsiteX76" fmla="*/ 3139345 w 6829615"/>
              <a:gd name="connsiteY76" fmla="*/ 1804226 h 4031170"/>
              <a:gd name="connsiteX77" fmla="*/ 2795969 w 6829615"/>
              <a:gd name="connsiteY77" fmla="*/ 1241489 h 4031170"/>
              <a:gd name="connsiteX78" fmla="*/ 2806637 w 6829615"/>
              <a:gd name="connsiteY78" fmla="*/ 959072 h 4031170"/>
              <a:gd name="connsiteX79" fmla="*/ 2635949 w 6829615"/>
              <a:gd name="connsiteY79" fmla="*/ 708470 h 4031170"/>
              <a:gd name="connsiteX80" fmla="*/ 2205990 w 6829615"/>
              <a:gd name="connsiteY80" fmla="*/ 706184 h 4031170"/>
              <a:gd name="connsiteX81" fmla="*/ 2018062 w 6829615"/>
              <a:gd name="connsiteY81" fmla="*/ 1035939 h 4031170"/>
              <a:gd name="connsiteX82" fmla="*/ 1136618 w 6829615"/>
              <a:gd name="connsiteY82" fmla="*/ 1035939 h 4031170"/>
              <a:gd name="connsiteX83" fmla="*/ 966883 w 6829615"/>
              <a:gd name="connsiteY83" fmla="*/ 719423 h 4031170"/>
              <a:gd name="connsiteX84" fmla="*/ 906685 w 6829615"/>
              <a:gd name="connsiteY84" fmla="*/ 719423 h 4031170"/>
              <a:gd name="connsiteX85" fmla="*/ 707708 w 6829615"/>
              <a:gd name="connsiteY85" fmla="*/ 1096709 h 4031170"/>
              <a:gd name="connsiteX86" fmla="*/ 708946 w 6829615"/>
              <a:gd name="connsiteY86" fmla="*/ 1153954 h 4031170"/>
              <a:gd name="connsiteX87" fmla="*/ 2203990 w 6829615"/>
              <a:gd name="connsiteY87" fmla="*/ 1154811 h 4031170"/>
              <a:gd name="connsiteX88" fmla="*/ 2355342 w 6829615"/>
              <a:gd name="connsiteY88" fmla="*/ 858298 h 4031170"/>
              <a:gd name="connsiteX89" fmla="*/ 2559749 w 6829615"/>
              <a:gd name="connsiteY89" fmla="*/ 858298 h 4031170"/>
              <a:gd name="connsiteX90" fmla="*/ 2688812 w 6829615"/>
              <a:gd name="connsiteY90" fmla="*/ 1028414 h 4031170"/>
              <a:gd name="connsiteX91" fmla="*/ 2688812 w 6829615"/>
              <a:gd name="connsiteY91" fmla="*/ 1353217 h 4031170"/>
              <a:gd name="connsiteX92" fmla="*/ 3007519 w 6829615"/>
              <a:gd name="connsiteY92" fmla="*/ 1887664 h 4031170"/>
              <a:gd name="connsiteX93" fmla="*/ 2767394 w 6829615"/>
              <a:gd name="connsiteY93" fmla="*/ 2247900 h 4031170"/>
              <a:gd name="connsiteX94" fmla="*/ 2761583 w 6829615"/>
              <a:gd name="connsiteY94" fmla="*/ 2718149 h 4031170"/>
              <a:gd name="connsiteX95" fmla="*/ 2500313 w 6829615"/>
              <a:gd name="connsiteY95" fmla="*/ 3111532 h 4031170"/>
              <a:gd name="connsiteX96" fmla="*/ 2262378 w 6829615"/>
              <a:gd name="connsiteY96" fmla="*/ 2712149 h 4031170"/>
              <a:gd name="connsiteX97" fmla="*/ 2262378 w 6829615"/>
              <a:gd name="connsiteY97" fmla="*/ 2427446 h 4031170"/>
              <a:gd name="connsiteX98" fmla="*/ 2158460 w 6829615"/>
              <a:gd name="connsiteY98" fmla="*/ 2257139 h 4031170"/>
              <a:gd name="connsiteX99" fmla="*/ 2158460 w 6829615"/>
              <a:gd name="connsiteY99" fmla="*/ 1856708 h 4031170"/>
              <a:gd name="connsiteX100" fmla="*/ 1913192 w 6829615"/>
              <a:gd name="connsiteY100" fmla="*/ 1441323 h 4031170"/>
              <a:gd name="connsiteX101" fmla="*/ 2415635 w 6829615"/>
              <a:gd name="connsiteY101" fmla="*/ 1441323 h 4031170"/>
              <a:gd name="connsiteX102" fmla="*/ 2683859 w 6829615"/>
              <a:gd name="connsiteY102" fmla="*/ 1863090 h 4031170"/>
              <a:gd name="connsiteX103" fmla="*/ 2526887 w 6829615"/>
              <a:gd name="connsiteY103" fmla="*/ 2100072 h 4031170"/>
              <a:gd name="connsiteX104" fmla="*/ 2526887 w 6829615"/>
              <a:gd name="connsiteY104" fmla="*/ 2145125 h 4031170"/>
              <a:gd name="connsiteX105" fmla="*/ 2364962 w 6829615"/>
              <a:gd name="connsiteY105" fmla="*/ 2145125 h 4031170"/>
              <a:gd name="connsiteX106" fmla="*/ 2364962 w 6829615"/>
              <a:gd name="connsiteY106" fmla="*/ 2051399 h 4031170"/>
              <a:gd name="connsiteX107" fmla="*/ 2490788 w 6829615"/>
              <a:gd name="connsiteY107" fmla="*/ 1861280 h 4031170"/>
              <a:gd name="connsiteX108" fmla="*/ 2326672 w 6829615"/>
              <a:gd name="connsiteY108" fmla="*/ 1603248 h 4031170"/>
              <a:gd name="connsiteX109" fmla="*/ 2196846 w 6829615"/>
              <a:gd name="connsiteY109" fmla="*/ 1603248 h 4031170"/>
              <a:gd name="connsiteX110" fmla="*/ 2320385 w 6829615"/>
              <a:gd name="connsiteY110" fmla="*/ 1812417 h 4031170"/>
              <a:gd name="connsiteX111" fmla="*/ 2320385 w 6829615"/>
              <a:gd name="connsiteY111" fmla="*/ 2211705 h 4031170"/>
              <a:gd name="connsiteX112" fmla="*/ 2424303 w 6829615"/>
              <a:gd name="connsiteY112" fmla="*/ 2381917 h 4031170"/>
              <a:gd name="connsiteX113" fmla="*/ 2424303 w 6829615"/>
              <a:gd name="connsiteY113" fmla="*/ 2667572 h 4031170"/>
              <a:gd name="connsiteX114" fmla="*/ 2507742 w 6829615"/>
              <a:gd name="connsiteY114" fmla="*/ 2807684 h 4031170"/>
              <a:gd name="connsiteX115" fmla="*/ 2600325 w 6829615"/>
              <a:gd name="connsiteY115" fmla="*/ 2668334 h 4031170"/>
              <a:gd name="connsiteX116" fmla="*/ 2606040 w 6829615"/>
              <a:gd name="connsiteY116" fmla="*/ 2197894 h 4031170"/>
              <a:gd name="connsiteX117" fmla="*/ 2816066 w 6829615"/>
              <a:gd name="connsiteY117" fmla="*/ 1882902 h 4031170"/>
              <a:gd name="connsiteX118" fmla="*/ 2526887 w 6829615"/>
              <a:gd name="connsiteY118" fmla="*/ 1397794 h 4031170"/>
              <a:gd name="connsiteX119" fmla="*/ 2526887 w 6829615"/>
              <a:gd name="connsiteY119" fmla="*/ 1082897 h 4031170"/>
              <a:gd name="connsiteX120" fmla="*/ 2479358 w 6829615"/>
              <a:gd name="connsiteY120" fmla="*/ 1020223 h 4031170"/>
              <a:gd name="connsiteX121" fmla="*/ 2454497 w 6829615"/>
              <a:gd name="connsiteY121" fmla="*/ 1020223 h 4031170"/>
              <a:gd name="connsiteX122" fmla="*/ 2303145 w 6829615"/>
              <a:gd name="connsiteY122" fmla="*/ 1316831 h 4031170"/>
              <a:gd name="connsiteX123" fmla="*/ 759143 w 6829615"/>
              <a:gd name="connsiteY123" fmla="*/ 1315974 h 4031170"/>
              <a:gd name="connsiteX124" fmla="*/ 686562 w 6829615"/>
              <a:gd name="connsiteY124" fmla="*/ 1377315 h 4031170"/>
              <a:gd name="connsiteX125" fmla="*/ 602647 w 6829615"/>
              <a:gd name="connsiteY125" fmla="*/ 1378744 h 4031170"/>
              <a:gd name="connsiteX126" fmla="*/ 550259 w 6829615"/>
              <a:gd name="connsiteY126" fmla="*/ 1309402 h 4031170"/>
              <a:gd name="connsiteX127" fmla="*/ 545021 w 6829615"/>
              <a:gd name="connsiteY127" fmla="*/ 1058228 h 4031170"/>
              <a:gd name="connsiteX128" fmla="*/ 808958 w 6829615"/>
              <a:gd name="connsiteY128" fmla="*/ 557498 h 4031170"/>
              <a:gd name="connsiteX129" fmla="*/ 1063752 w 6829615"/>
              <a:gd name="connsiteY129" fmla="*/ 557498 h 4031170"/>
              <a:gd name="connsiteX130" fmla="*/ 1233583 w 6829615"/>
              <a:gd name="connsiteY130" fmla="*/ 874014 h 4031170"/>
              <a:gd name="connsiteX131" fmla="*/ 1923955 w 6829615"/>
              <a:gd name="connsiteY131" fmla="*/ 874014 h 4031170"/>
              <a:gd name="connsiteX132" fmla="*/ 2112264 w 6829615"/>
              <a:gd name="connsiteY132" fmla="*/ 543687 h 4031170"/>
              <a:gd name="connsiteX133" fmla="*/ 2721864 w 6829615"/>
              <a:gd name="connsiteY133" fmla="*/ 547021 h 4031170"/>
              <a:gd name="connsiteX134" fmla="*/ 2970371 w 6829615"/>
              <a:gd name="connsiteY134" fmla="*/ 911924 h 4031170"/>
              <a:gd name="connsiteX135" fmla="*/ 2959608 w 6829615"/>
              <a:gd name="connsiteY135" fmla="*/ 1198721 h 4031170"/>
              <a:gd name="connsiteX136" fmla="*/ 3230404 w 6829615"/>
              <a:gd name="connsiteY136" fmla="*/ 1642682 h 4031170"/>
              <a:gd name="connsiteX137" fmla="*/ 3747326 w 6829615"/>
              <a:gd name="connsiteY137" fmla="*/ 1644587 h 4031170"/>
              <a:gd name="connsiteX138" fmla="*/ 3541300 w 6829615"/>
              <a:gd name="connsiteY138" fmla="*/ 1991868 h 4031170"/>
              <a:gd name="connsiteX139" fmla="*/ 3252216 w 6829615"/>
              <a:gd name="connsiteY139" fmla="*/ 1993011 h 4031170"/>
              <a:gd name="connsiteX140" fmla="*/ 3047333 w 6829615"/>
              <a:gd name="connsiteY140" fmla="*/ 2336959 h 4031170"/>
              <a:gd name="connsiteX141" fmla="*/ 3044381 w 6829615"/>
              <a:gd name="connsiteY141" fmla="*/ 2783681 h 4031170"/>
              <a:gd name="connsiteX142" fmla="*/ 2685479 w 6829615"/>
              <a:gd name="connsiteY142" fmla="*/ 3357848 h 4031170"/>
              <a:gd name="connsiteX143" fmla="*/ 2685479 w 6829615"/>
              <a:gd name="connsiteY143" fmla="*/ 3542633 h 4031170"/>
              <a:gd name="connsiteX144" fmla="*/ 2572417 w 6829615"/>
              <a:gd name="connsiteY144" fmla="*/ 3729704 h 4031170"/>
              <a:gd name="connsiteX145" fmla="*/ 2429923 w 6829615"/>
              <a:gd name="connsiteY145" fmla="*/ 3729704 h 4031170"/>
              <a:gd name="connsiteX146" fmla="*/ 2262092 w 6829615"/>
              <a:gd name="connsiteY146" fmla="*/ 3510820 h 4031170"/>
              <a:gd name="connsiteX147" fmla="*/ 2262092 w 6829615"/>
              <a:gd name="connsiteY147" fmla="*/ 3249454 h 4031170"/>
              <a:gd name="connsiteX148" fmla="*/ 2009489 w 6829615"/>
              <a:gd name="connsiteY148" fmla="*/ 2827115 h 4031170"/>
              <a:gd name="connsiteX149" fmla="*/ 2009489 w 6829615"/>
              <a:gd name="connsiteY149" fmla="*/ 2579941 h 4031170"/>
              <a:gd name="connsiteX150" fmla="*/ 1868900 w 6829615"/>
              <a:gd name="connsiteY150" fmla="*/ 2338483 h 4031170"/>
              <a:gd name="connsiteX151" fmla="*/ 1868900 w 6829615"/>
              <a:gd name="connsiteY151" fmla="*/ 1931575 h 4031170"/>
              <a:gd name="connsiteX152" fmla="*/ 1692974 w 6829615"/>
              <a:gd name="connsiteY152" fmla="*/ 1611154 h 4031170"/>
              <a:gd name="connsiteX153" fmla="*/ 903827 w 6829615"/>
              <a:gd name="connsiteY153" fmla="*/ 1611154 h 4031170"/>
              <a:gd name="connsiteX154" fmla="*/ 800481 w 6829615"/>
              <a:gd name="connsiteY154" fmla="*/ 1746314 h 4031170"/>
              <a:gd name="connsiteX155" fmla="*/ 513398 w 6829615"/>
              <a:gd name="connsiteY155" fmla="*/ 1746314 h 4031170"/>
              <a:gd name="connsiteX156" fmla="*/ 267653 w 6829615"/>
              <a:gd name="connsiteY156" fmla="*/ 1391984 h 4031170"/>
              <a:gd name="connsiteX157" fmla="*/ 258413 w 6829615"/>
              <a:gd name="connsiteY157" fmla="*/ 954119 h 4031170"/>
              <a:gd name="connsiteX158" fmla="*/ 644843 w 6829615"/>
              <a:gd name="connsiteY158" fmla="*/ 269462 h 4031170"/>
              <a:gd name="connsiteX159" fmla="*/ 1195102 w 6829615"/>
              <a:gd name="connsiteY159" fmla="*/ 269462 h 4031170"/>
              <a:gd name="connsiteX160" fmla="*/ 1397984 w 6829615"/>
              <a:gd name="connsiteY160" fmla="*/ 616172 h 4031170"/>
              <a:gd name="connsiteX161" fmla="*/ 1777937 w 6829615"/>
              <a:gd name="connsiteY161" fmla="*/ 616172 h 4031170"/>
              <a:gd name="connsiteX162" fmla="*/ 1962722 w 6829615"/>
              <a:gd name="connsiteY162" fmla="*/ 278987 h 4031170"/>
              <a:gd name="connsiteX163" fmla="*/ 2831402 w 6829615"/>
              <a:gd name="connsiteY163" fmla="*/ 278987 h 4031170"/>
              <a:gd name="connsiteX164" fmla="*/ 3219545 w 6829615"/>
              <a:gd name="connsiteY164" fmla="*/ 815435 h 4031170"/>
              <a:gd name="connsiteX165" fmla="*/ 3219069 w 6829615"/>
              <a:gd name="connsiteY165" fmla="*/ 1140905 h 4031170"/>
              <a:gd name="connsiteX166" fmla="*/ 3378041 w 6829615"/>
              <a:gd name="connsiteY166" fmla="*/ 1414082 h 4031170"/>
              <a:gd name="connsiteX167" fmla="*/ 4152138 w 6829615"/>
              <a:gd name="connsiteY167" fmla="*/ 1414082 h 4031170"/>
              <a:gd name="connsiteX168" fmla="*/ 3689318 w 6829615"/>
              <a:gd name="connsiteY168" fmla="*/ 2223326 h 4031170"/>
              <a:gd name="connsiteX169" fmla="*/ 3462719 w 6829615"/>
              <a:gd name="connsiteY169" fmla="*/ 2220944 h 4031170"/>
              <a:gd name="connsiteX170" fmla="*/ 3312128 w 6829615"/>
              <a:gd name="connsiteY170" fmla="*/ 2458498 h 4031170"/>
              <a:gd name="connsiteX171" fmla="*/ 3312128 w 6829615"/>
              <a:gd name="connsiteY171" fmla="*/ 2864263 h 4031170"/>
              <a:gd name="connsiteX172" fmla="*/ 2926175 w 6829615"/>
              <a:gd name="connsiteY172" fmla="*/ 3469386 h 4031170"/>
              <a:gd name="connsiteX173" fmla="*/ 2926175 w 6829615"/>
              <a:gd name="connsiteY173" fmla="*/ 3685604 h 4031170"/>
              <a:gd name="connsiteX174" fmla="*/ 2718340 w 6829615"/>
              <a:gd name="connsiteY174" fmla="*/ 4031171 h 4031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829615" h="4031170">
                <a:moveTo>
                  <a:pt x="2718340" y="4031171"/>
                </a:moveTo>
                <a:lnTo>
                  <a:pt x="2288381" y="4028504"/>
                </a:lnTo>
                <a:lnTo>
                  <a:pt x="1978724" y="3663887"/>
                </a:lnTo>
                <a:lnTo>
                  <a:pt x="1978724" y="3314129"/>
                </a:lnTo>
                <a:lnTo>
                  <a:pt x="1742980" y="2885599"/>
                </a:lnTo>
                <a:lnTo>
                  <a:pt x="1743742" y="2627662"/>
                </a:lnTo>
                <a:lnTo>
                  <a:pt x="1603534" y="2383631"/>
                </a:lnTo>
                <a:lnTo>
                  <a:pt x="1603534" y="1988344"/>
                </a:lnTo>
                <a:lnTo>
                  <a:pt x="1563624" y="1916906"/>
                </a:lnTo>
                <a:lnTo>
                  <a:pt x="1009840" y="1916906"/>
                </a:lnTo>
                <a:lnTo>
                  <a:pt x="947833" y="2024443"/>
                </a:lnTo>
                <a:lnTo>
                  <a:pt x="351282" y="2024443"/>
                </a:lnTo>
                <a:lnTo>
                  <a:pt x="0" y="1478661"/>
                </a:lnTo>
                <a:lnTo>
                  <a:pt x="0" y="860965"/>
                </a:lnTo>
                <a:lnTo>
                  <a:pt x="512636" y="0"/>
                </a:lnTo>
                <a:lnTo>
                  <a:pt x="1361408" y="0"/>
                </a:lnTo>
                <a:lnTo>
                  <a:pt x="1537526" y="290417"/>
                </a:lnTo>
                <a:lnTo>
                  <a:pt x="1638967" y="289751"/>
                </a:lnTo>
                <a:lnTo>
                  <a:pt x="1798130" y="0"/>
                </a:lnTo>
                <a:lnTo>
                  <a:pt x="6829616" y="0"/>
                </a:lnTo>
                <a:lnTo>
                  <a:pt x="6829616" y="161925"/>
                </a:lnTo>
                <a:lnTo>
                  <a:pt x="1893951" y="161925"/>
                </a:lnTo>
                <a:lnTo>
                  <a:pt x="1735169" y="451104"/>
                </a:lnTo>
                <a:lnTo>
                  <a:pt x="1446752" y="452914"/>
                </a:lnTo>
                <a:lnTo>
                  <a:pt x="1270254" y="161925"/>
                </a:lnTo>
                <a:lnTo>
                  <a:pt x="604647" y="161925"/>
                </a:lnTo>
                <a:lnTo>
                  <a:pt x="161925" y="905447"/>
                </a:lnTo>
                <a:lnTo>
                  <a:pt x="161925" y="1431036"/>
                </a:lnTo>
                <a:lnTo>
                  <a:pt x="439674" y="1862518"/>
                </a:lnTo>
                <a:lnTo>
                  <a:pt x="854297" y="1862518"/>
                </a:lnTo>
                <a:lnTo>
                  <a:pt x="916305" y="1754981"/>
                </a:lnTo>
                <a:lnTo>
                  <a:pt x="1658684" y="1754981"/>
                </a:lnTo>
                <a:lnTo>
                  <a:pt x="1765459" y="1946148"/>
                </a:lnTo>
                <a:lnTo>
                  <a:pt x="1765459" y="2340388"/>
                </a:lnTo>
                <a:lnTo>
                  <a:pt x="1905762" y="2584704"/>
                </a:lnTo>
                <a:lnTo>
                  <a:pt x="1905000" y="2844260"/>
                </a:lnTo>
                <a:lnTo>
                  <a:pt x="2140649" y="3272504"/>
                </a:lnTo>
                <a:lnTo>
                  <a:pt x="2140649" y="3604451"/>
                </a:lnTo>
                <a:lnTo>
                  <a:pt x="2363724" y="3867055"/>
                </a:lnTo>
                <a:lnTo>
                  <a:pt x="2627090" y="3868674"/>
                </a:lnTo>
                <a:lnTo>
                  <a:pt x="2764250" y="3640646"/>
                </a:lnTo>
                <a:lnTo>
                  <a:pt x="2764250" y="3422047"/>
                </a:lnTo>
                <a:lnTo>
                  <a:pt x="3150203" y="2817019"/>
                </a:lnTo>
                <a:lnTo>
                  <a:pt x="3150203" y="2411444"/>
                </a:lnTo>
                <a:lnTo>
                  <a:pt x="3374231" y="2058067"/>
                </a:lnTo>
                <a:lnTo>
                  <a:pt x="3595973" y="2060448"/>
                </a:lnTo>
                <a:lnTo>
                  <a:pt x="3872960" y="1576007"/>
                </a:lnTo>
                <a:lnTo>
                  <a:pt x="3284982" y="1576007"/>
                </a:lnTo>
                <a:lnTo>
                  <a:pt x="3057049" y="1184529"/>
                </a:lnTo>
                <a:lnTo>
                  <a:pt x="3057525" y="867728"/>
                </a:lnTo>
                <a:lnTo>
                  <a:pt x="2748724" y="440912"/>
                </a:lnTo>
                <a:lnTo>
                  <a:pt x="2058638" y="440912"/>
                </a:lnTo>
                <a:lnTo>
                  <a:pt x="1873853" y="778097"/>
                </a:lnTo>
                <a:lnTo>
                  <a:pt x="1305116" y="778097"/>
                </a:lnTo>
                <a:lnTo>
                  <a:pt x="1102233" y="431387"/>
                </a:lnTo>
                <a:lnTo>
                  <a:pt x="739426" y="431387"/>
                </a:lnTo>
                <a:lnTo>
                  <a:pt x="421196" y="995077"/>
                </a:lnTo>
                <a:lnTo>
                  <a:pt x="428435" y="1339787"/>
                </a:lnTo>
                <a:lnTo>
                  <a:pt x="598075" y="1584389"/>
                </a:lnTo>
                <a:lnTo>
                  <a:pt x="720471" y="1584389"/>
                </a:lnTo>
                <a:lnTo>
                  <a:pt x="823817" y="1449229"/>
                </a:lnTo>
                <a:lnTo>
                  <a:pt x="1788795" y="1449229"/>
                </a:lnTo>
                <a:lnTo>
                  <a:pt x="2030825" y="1890046"/>
                </a:lnTo>
                <a:lnTo>
                  <a:pt x="2030825" y="2294763"/>
                </a:lnTo>
                <a:lnTo>
                  <a:pt x="2171414" y="2536222"/>
                </a:lnTo>
                <a:lnTo>
                  <a:pt x="2171414" y="2782348"/>
                </a:lnTo>
                <a:lnTo>
                  <a:pt x="2424017" y="3204782"/>
                </a:lnTo>
                <a:lnTo>
                  <a:pt x="2424017" y="3455861"/>
                </a:lnTo>
                <a:lnTo>
                  <a:pt x="2493740" y="3546824"/>
                </a:lnTo>
                <a:lnTo>
                  <a:pt x="2523554" y="3497485"/>
                </a:lnTo>
                <a:lnTo>
                  <a:pt x="2523554" y="3311366"/>
                </a:lnTo>
                <a:lnTo>
                  <a:pt x="2882741" y="2736723"/>
                </a:lnTo>
                <a:lnTo>
                  <a:pt x="2885694" y="2291906"/>
                </a:lnTo>
                <a:lnTo>
                  <a:pt x="3159919" y="1831372"/>
                </a:lnTo>
                <a:lnTo>
                  <a:pt x="3448907" y="1830324"/>
                </a:lnTo>
                <a:lnTo>
                  <a:pt x="3463671" y="1805464"/>
                </a:lnTo>
                <a:lnTo>
                  <a:pt x="3139345" y="1804226"/>
                </a:lnTo>
                <a:lnTo>
                  <a:pt x="2795969" y="1241489"/>
                </a:lnTo>
                <a:lnTo>
                  <a:pt x="2806637" y="959072"/>
                </a:lnTo>
                <a:lnTo>
                  <a:pt x="2635949" y="708470"/>
                </a:lnTo>
                <a:lnTo>
                  <a:pt x="2205990" y="706184"/>
                </a:lnTo>
                <a:lnTo>
                  <a:pt x="2018062" y="1035939"/>
                </a:lnTo>
                <a:lnTo>
                  <a:pt x="1136618" y="1035939"/>
                </a:lnTo>
                <a:lnTo>
                  <a:pt x="966883" y="719423"/>
                </a:lnTo>
                <a:lnTo>
                  <a:pt x="906685" y="719423"/>
                </a:lnTo>
                <a:lnTo>
                  <a:pt x="707708" y="1096709"/>
                </a:lnTo>
                <a:lnTo>
                  <a:pt x="708946" y="1153954"/>
                </a:lnTo>
                <a:lnTo>
                  <a:pt x="2203990" y="1154811"/>
                </a:lnTo>
                <a:lnTo>
                  <a:pt x="2355342" y="858298"/>
                </a:lnTo>
                <a:lnTo>
                  <a:pt x="2559749" y="858298"/>
                </a:lnTo>
                <a:lnTo>
                  <a:pt x="2688812" y="1028414"/>
                </a:lnTo>
                <a:lnTo>
                  <a:pt x="2688812" y="1353217"/>
                </a:lnTo>
                <a:lnTo>
                  <a:pt x="3007519" y="1887664"/>
                </a:lnTo>
                <a:lnTo>
                  <a:pt x="2767394" y="2247900"/>
                </a:lnTo>
                <a:lnTo>
                  <a:pt x="2761583" y="2718149"/>
                </a:lnTo>
                <a:lnTo>
                  <a:pt x="2500313" y="3111532"/>
                </a:lnTo>
                <a:lnTo>
                  <a:pt x="2262378" y="2712149"/>
                </a:lnTo>
                <a:lnTo>
                  <a:pt x="2262378" y="2427446"/>
                </a:lnTo>
                <a:lnTo>
                  <a:pt x="2158460" y="2257139"/>
                </a:lnTo>
                <a:lnTo>
                  <a:pt x="2158460" y="1856708"/>
                </a:lnTo>
                <a:lnTo>
                  <a:pt x="1913192" y="1441323"/>
                </a:lnTo>
                <a:lnTo>
                  <a:pt x="2415635" y="1441323"/>
                </a:lnTo>
                <a:lnTo>
                  <a:pt x="2683859" y="1863090"/>
                </a:lnTo>
                <a:lnTo>
                  <a:pt x="2526887" y="2100072"/>
                </a:lnTo>
                <a:lnTo>
                  <a:pt x="2526887" y="2145125"/>
                </a:lnTo>
                <a:lnTo>
                  <a:pt x="2364962" y="2145125"/>
                </a:lnTo>
                <a:lnTo>
                  <a:pt x="2364962" y="2051399"/>
                </a:lnTo>
                <a:lnTo>
                  <a:pt x="2490788" y="1861280"/>
                </a:lnTo>
                <a:lnTo>
                  <a:pt x="2326672" y="1603248"/>
                </a:lnTo>
                <a:lnTo>
                  <a:pt x="2196846" y="1603248"/>
                </a:lnTo>
                <a:lnTo>
                  <a:pt x="2320385" y="1812417"/>
                </a:lnTo>
                <a:lnTo>
                  <a:pt x="2320385" y="2211705"/>
                </a:lnTo>
                <a:lnTo>
                  <a:pt x="2424303" y="2381917"/>
                </a:lnTo>
                <a:lnTo>
                  <a:pt x="2424303" y="2667572"/>
                </a:lnTo>
                <a:lnTo>
                  <a:pt x="2507742" y="2807684"/>
                </a:lnTo>
                <a:lnTo>
                  <a:pt x="2600325" y="2668334"/>
                </a:lnTo>
                <a:lnTo>
                  <a:pt x="2606040" y="2197894"/>
                </a:lnTo>
                <a:lnTo>
                  <a:pt x="2816066" y="1882902"/>
                </a:lnTo>
                <a:lnTo>
                  <a:pt x="2526887" y="1397794"/>
                </a:lnTo>
                <a:lnTo>
                  <a:pt x="2526887" y="1082897"/>
                </a:lnTo>
                <a:lnTo>
                  <a:pt x="2479358" y="1020223"/>
                </a:lnTo>
                <a:lnTo>
                  <a:pt x="2454497" y="1020223"/>
                </a:lnTo>
                <a:lnTo>
                  <a:pt x="2303145" y="1316831"/>
                </a:lnTo>
                <a:lnTo>
                  <a:pt x="759143" y="1315974"/>
                </a:lnTo>
                <a:lnTo>
                  <a:pt x="686562" y="1377315"/>
                </a:lnTo>
                <a:lnTo>
                  <a:pt x="602647" y="1378744"/>
                </a:lnTo>
                <a:lnTo>
                  <a:pt x="550259" y="1309402"/>
                </a:lnTo>
                <a:lnTo>
                  <a:pt x="545021" y="1058228"/>
                </a:lnTo>
                <a:lnTo>
                  <a:pt x="808958" y="557498"/>
                </a:lnTo>
                <a:lnTo>
                  <a:pt x="1063752" y="557498"/>
                </a:lnTo>
                <a:lnTo>
                  <a:pt x="1233583" y="874014"/>
                </a:lnTo>
                <a:lnTo>
                  <a:pt x="1923955" y="874014"/>
                </a:lnTo>
                <a:lnTo>
                  <a:pt x="2112264" y="543687"/>
                </a:lnTo>
                <a:lnTo>
                  <a:pt x="2721864" y="547021"/>
                </a:lnTo>
                <a:lnTo>
                  <a:pt x="2970371" y="911924"/>
                </a:lnTo>
                <a:lnTo>
                  <a:pt x="2959608" y="1198721"/>
                </a:lnTo>
                <a:lnTo>
                  <a:pt x="3230404" y="1642682"/>
                </a:lnTo>
                <a:lnTo>
                  <a:pt x="3747326" y="1644587"/>
                </a:lnTo>
                <a:lnTo>
                  <a:pt x="3541300" y="1991868"/>
                </a:lnTo>
                <a:lnTo>
                  <a:pt x="3252216" y="1993011"/>
                </a:lnTo>
                <a:lnTo>
                  <a:pt x="3047333" y="2336959"/>
                </a:lnTo>
                <a:lnTo>
                  <a:pt x="3044381" y="2783681"/>
                </a:lnTo>
                <a:lnTo>
                  <a:pt x="2685479" y="3357848"/>
                </a:lnTo>
                <a:lnTo>
                  <a:pt x="2685479" y="3542633"/>
                </a:lnTo>
                <a:lnTo>
                  <a:pt x="2572417" y="3729704"/>
                </a:lnTo>
                <a:lnTo>
                  <a:pt x="2429923" y="3729704"/>
                </a:lnTo>
                <a:lnTo>
                  <a:pt x="2262092" y="3510820"/>
                </a:lnTo>
                <a:lnTo>
                  <a:pt x="2262092" y="3249454"/>
                </a:lnTo>
                <a:lnTo>
                  <a:pt x="2009489" y="2827115"/>
                </a:lnTo>
                <a:lnTo>
                  <a:pt x="2009489" y="2579941"/>
                </a:lnTo>
                <a:lnTo>
                  <a:pt x="1868900" y="2338483"/>
                </a:lnTo>
                <a:lnTo>
                  <a:pt x="1868900" y="1931575"/>
                </a:lnTo>
                <a:lnTo>
                  <a:pt x="1692974" y="1611154"/>
                </a:lnTo>
                <a:lnTo>
                  <a:pt x="903827" y="1611154"/>
                </a:lnTo>
                <a:lnTo>
                  <a:pt x="800481" y="1746314"/>
                </a:lnTo>
                <a:lnTo>
                  <a:pt x="513398" y="1746314"/>
                </a:lnTo>
                <a:lnTo>
                  <a:pt x="267653" y="1391984"/>
                </a:lnTo>
                <a:lnTo>
                  <a:pt x="258413" y="954119"/>
                </a:lnTo>
                <a:lnTo>
                  <a:pt x="644843" y="269462"/>
                </a:lnTo>
                <a:lnTo>
                  <a:pt x="1195102" y="269462"/>
                </a:lnTo>
                <a:lnTo>
                  <a:pt x="1397984" y="616172"/>
                </a:lnTo>
                <a:lnTo>
                  <a:pt x="1777937" y="616172"/>
                </a:lnTo>
                <a:lnTo>
                  <a:pt x="1962722" y="278987"/>
                </a:lnTo>
                <a:lnTo>
                  <a:pt x="2831402" y="278987"/>
                </a:lnTo>
                <a:lnTo>
                  <a:pt x="3219545" y="815435"/>
                </a:lnTo>
                <a:lnTo>
                  <a:pt x="3219069" y="1140905"/>
                </a:lnTo>
                <a:lnTo>
                  <a:pt x="3378041" y="1414082"/>
                </a:lnTo>
                <a:lnTo>
                  <a:pt x="4152138" y="1414082"/>
                </a:lnTo>
                <a:lnTo>
                  <a:pt x="3689318" y="2223326"/>
                </a:lnTo>
                <a:lnTo>
                  <a:pt x="3462719" y="2220944"/>
                </a:lnTo>
                <a:lnTo>
                  <a:pt x="3312128" y="2458498"/>
                </a:lnTo>
                <a:lnTo>
                  <a:pt x="3312128" y="2864263"/>
                </a:lnTo>
                <a:lnTo>
                  <a:pt x="2926175" y="3469386"/>
                </a:lnTo>
                <a:lnTo>
                  <a:pt x="2926175" y="3685604"/>
                </a:lnTo>
                <a:lnTo>
                  <a:pt x="2718340" y="4031171"/>
                </a:lnTo>
                <a:close/>
              </a:path>
            </a:pathLst>
          </a:custGeom>
          <a:solidFill>
            <a:srgbClr val="7DBA0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58130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C3784C0-AEDF-10DD-4608-3BD04462041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6932" y="1559081"/>
            <a:ext cx="4561347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sp>
        <p:nvSpPr>
          <p:cNvPr id="3" name="Graphic 4">
            <a:extLst>
              <a:ext uri="{FF2B5EF4-FFF2-40B4-BE49-F238E27FC236}">
                <a16:creationId xmlns:a16="http://schemas.microsoft.com/office/drawing/2014/main" id="{D1BD1A9C-0B6C-5E16-67BF-F46E6D548358}"/>
              </a:ext>
            </a:extLst>
          </p:cNvPr>
          <p:cNvSpPr/>
          <p:nvPr userDrawn="1"/>
        </p:nvSpPr>
        <p:spPr>
          <a:xfrm>
            <a:off x="629600" y="913946"/>
            <a:ext cx="9089796" cy="5365238"/>
          </a:xfrm>
          <a:custGeom>
            <a:avLst/>
            <a:gdLst>
              <a:gd name="connsiteX0" fmla="*/ 2718340 w 6829615"/>
              <a:gd name="connsiteY0" fmla="*/ 4031171 h 4031170"/>
              <a:gd name="connsiteX1" fmla="*/ 2288381 w 6829615"/>
              <a:gd name="connsiteY1" fmla="*/ 4028504 h 4031170"/>
              <a:gd name="connsiteX2" fmla="*/ 1978724 w 6829615"/>
              <a:gd name="connsiteY2" fmla="*/ 3663887 h 4031170"/>
              <a:gd name="connsiteX3" fmla="*/ 1978724 w 6829615"/>
              <a:gd name="connsiteY3" fmla="*/ 3314129 h 4031170"/>
              <a:gd name="connsiteX4" fmla="*/ 1742980 w 6829615"/>
              <a:gd name="connsiteY4" fmla="*/ 2885599 h 4031170"/>
              <a:gd name="connsiteX5" fmla="*/ 1743742 w 6829615"/>
              <a:gd name="connsiteY5" fmla="*/ 2627662 h 4031170"/>
              <a:gd name="connsiteX6" fmla="*/ 1603534 w 6829615"/>
              <a:gd name="connsiteY6" fmla="*/ 2383631 h 4031170"/>
              <a:gd name="connsiteX7" fmla="*/ 1603534 w 6829615"/>
              <a:gd name="connsiteY7" fmla="*/ 1988344 h 4031170"/>
              <a:gd name="connsiteX8" fmla="*/ 1563624 w 6829615"/>
              <a:gd name="connsiteY8" fmla="*/ 1916906 h 4031170"/>
              <a:gd name="connsiteX9" fmla="*/ 1009840 w 6829615"/>
              <a:gd name="connsiteY9" fmla="*/ 1916906 h 4031170"/>
              <a:gd name="connsiteX10" fmla="*/ 947833 w 6829615"/>
              <a:gd name="connsiteY10" fmla="*/ 2024443 h 4031170"/>
              <a:gd name="connsiteX11" fmla="*/ 351282 w 6829615"/>
              <a:gd name="connsiteY11" fmla="*/ 2024443 h 4031170"/>
              <a:gd name="connsiteX12" fmla="*/ 0 w 6829615"/>
              <a:gd name="connsiteY12" fmla="*/ 1478661 h 4031170"/>
              <a:gd name="connsiteX13" fmla="*/ 0 w 6829615"/>
              <a:gd name="connsiteY13" fmla="*/ 860965 h 4031170"/>
              <a:gd name="connsiteX14" fmla="*/ 512636 w 6829615"/>
              <a:gd name="connsiteY14" fmla="*/ 0 h 4031170"/>
              <a:gd name="connsiteX15" fmla="*/ 1361408 w 6829615"/>
              <a:gd name="connsiteY15" fmla="*/ 0 h 4031170"/>
              <a:gd name="connsiteX16" fmla="*/ 1537526 w 6829615"/>
              <a:gd name="connsiteY16" fmla="*/ 290417 h 4031170"/>
              <a:gd name="connsiteX17" fmla="*/ 1638967 w 6829615"/>
              <a:gd name="connsiteY17" fmla="*/ 289751 h 4031170"/>
              <a:gd name="connsiteX18" fmla="*/ 1798130 w 6829615"/>
              <a:gd name="connsiteY18" fmla="*/ 0 h 4031170"/>
              <a:gd name="connsiteX19" fmla="*/ 6829616 w 6829615"/>
              <a:gd name="connsiteY19" fmla="*/ 0 h 4031170"/>
              <a:gd name="connsiteX20" fmla="*/ 6829616 w 6829615"/>
              <a:gd name="connsiteY20" fmla="*/ 161925 h 4031170"/>
              <a:gd name="connsiteX21" fmla="*/ 1893951 w 6829615"/>
              <a:gd name="connsiteY21" fmla="*/ 161925 h 4031170"/>
              <a:gd name="connsiteX22" fmla="*/ 1735169 w 6829615"/>
              <a:gd name="connsiteY22" fmla="*/ 451104 h 4031170"/>
              <a:gd name="connsiteX23" fmla="*/ 1446752 w 6829615"/>
              <a:gd name="connsiteY23" fmla="*/ 452914 h 4031170"/>
              <a:gd name="connsiteX24" fmla="*/ 1270254 w 6829615"/>
              <a:gd name="connsiteY24" fmla="*/ 161925 h 4031170"/>
              <a:gd name="connsiteX25" fmla="*/ 604647 w 6829615"/>
              <a:gd name="connsiteY25" fmla="*/ 161925 h 4031170"/>
              <a:gd name="connsiteX26" fmla="*/ 161925 w 6829615"/>
              <a:gd name="connsiteY26" fmla="*/ 905447 h 4031170"/>
              <a:gd name="connsiteX27" fmla="*/ 161925 w 6829615"/>
              <a:gd name="connsiteY27" fmla="*/ 1431036 h 4031170"/>
              <a:gd name="connsiteX28" fmla="*/ 439674 w 6829615"/>
              <a:gd name="connsiteY28" fmla="*/ 1862518 h 4031170"/>
              <a:gd name="connsiteX29" fmla="*/ 854297 w 6829615"/>
              <a:gd name="connsiteY29" fmla="*/ 1862518 h 4031170"/>
              <a:gd name="connsiteX30" fmla="*/ 916305 w 6829615"/>
              <a:gd name="connsiteY30" fmla="*/ 1754981 h 4031170"/>
              <a:gd name="connsiteX31" fmla="*/ 1658684 w 6829615"/>
              <a:gd name="connsiteY31" fmla="*/ 1754981 h 4031170"/>
              <a:gd name="connsiteX32" fmla="*/ 1765459 w 6829615"/>
              <a:gd name="connsiteY32" fmla="*/ 1946148 h 4031170"/>
              <a:gd name="connsiteX33" fmla="*/ 1765459 w 6829615"/>
              <a:gd name="connsiteY33" fmla="*/ 2340388 h 4031170"/>
              <a:gd name="connsiteX34" fmla="*/ 1905762 w 6829615"/>
              <a:gd name="connsiteY34" fmla="*/ 2584704 h 4031170"/>
              <a:gd name="connsiteX35" fmla="*/ 1905000 w 6829615"/>
              <a:gd name="connsiteY35" fmla="*/ 2844260 h 4031170"/>
              <a:gd name="connsiteX36" fmla="*/ 2140649 w 6829615"/>
              <a:gd name="connsiteY36" fmla="*/ 3272504 h 4031170"/>
              <a:gd name="connsiteX37" fmla="*/ 2140649 w 6829615"/>
              <a:gd name="connsiteY37" fmla="*/ 3604451 h 4031170"/>
              <a:gd name="connsiteX38" fmla="*/ 2363724 w 6829615"/>
              <a:gd name="connsiteY38" fmla="*/ 3867055 h 4031170"/>
              <a:gd name="connsiteX39" fmla="*/ 2627090 w 6829615"/>
              <a:gd name="connsiteY39" fmla="*/ 3868674 h 4031170"/>
              <a:gd name="connsiteX40" fmla="*/ 2764250 w 6829615"/>
              <a:gd name="connsiteY40" fmla="*/ 3640646 h 4031170"/>
              <a:gd name="connsiteX41" fmla="*/ 2764250 w 6829615"/>
              <a:gd name="connsiteY41" fmla="*/ 3422047 h 4031170"/>
              <a:gd name="connsiteX42" fmla="*/ 3150203 w 6829615"/>
              <a:gd name="connsiteY42" fmla="*/ 2817019 h 4031170"/>
              <a:gd name="connsiteX43" fmla="*/ 3150203 w 6829615"/>
              <a:gd name="connsiteY43" fmla="*/ 2411444 h 4031170"/>
              <a:gd name="connsiteX44" fmla="*/ 3374231 w 6829615"/>
              <a:gd name="connsiteY44" fmla="*/ 2058067 h 4031170"/>
              <a:gd name="connsiteX45" fmla="*/ 3595973 w 6829615"/>
              <a:gd name="connsiteY45" fmla="*/ 2060448 h 4031170"/>
              <a:gd name="connsiteX46" fmla="*/ 3872960 w 6829615"/>
              <a:gd name="connsiteY46" fmla="*/ 1576007 h 4031170"/>
              <a:gd name="connsiteX47" fmla="*/ 3284982 w 6829615"/>
              <a:gd name="connsiteY47" fmla="*/ 1576007 h 4031170"/>
              <a:gd name="connsiteX48" fmla="*/ 3057049 w 6829615"/>
              <a:gd name="connsiteY48" fmla="*/ 1184529 h 4031170"/>
              <a:gd name="connsiteX49" fmla="*/ 3057525 w 6829615"/>
              <a:gd name="connsiteY49" fmla="*/ 867728 h 4031170"/>
              <a:gd name="connsiteX50" fmla="*/ 2748724 w 6829615"/>
              <a:gd name="connsiteY50" fmla="*/ 440912 h 4031170"/>
              <a:gd name="connsiteX51" fmla="*/ 2058638 w 6829615"/>
              <a:gd name="connsiteY51" fmla="*/ 440912 h 4031170"/>
              <a:gd name="connsiteX52" fmla="*/ 1873853 w 6829615"/>
              <a:gd name="connsiteY52" fmla="*/ 778097 h 4031170"/>
              <a:gd name="connsiteX53" fmla="*/ 1305116 w 6829615"/>
              <a:gd name="connsiteY53" fmla="*/ 778097 h 4031170"/>
              <a:gd name="connsiteX54" fmla="*/ 1102233 w 6829615"/>
              <a:gd name="connsiteY54" fmla="*/ 431387 h 4031170"/>
              <a:gd name="connsiteX55" fmla="*/ 739426 w 6829615"/>
              <a:gd name="connsiteY55" fmla="*/ 431387 h 4031170"/>
              <a:gd name="connsiteX56" fmla="*/ 421196 w 6829615"/>
              <a:gd name="connsiteY56" fmla="*/ 995077 h 4031170"/>
              <a:gd name="connsiteX57" fmla="*/ 428435 w 6829615"/>
              <a:gd name="connsiteY57" fmla="*/ 1339787 h 4031170"/>
              <a:gd name="connsiteX58" fmla="*/ 598075 w 6829615"/>
              <a:gd name="connsiteY58" fmla="*/ 1584389 h 4031170"/>
              <a:gd name="connsiteX59" fmla="*/ 720471 w 6829615"/>
              <a:gd name="connsiteY59" fmla="*/ 1584389 h 4031170"/>
              <a:gd name="connsiteX60" fmla="*/ 823817 w 6829615"/>
              <a:gd name="connsiteY60" fmla="*/ 1449229 h 4031170"/>
              <a:gd name="connsiteX61" fmla="*/ 1788795 w 6829615"/>
              <a:gd name="connsiteY61" fmla="*/ 1449229 h 4031170"/>
              <a:gd name="connsiteX62" fmla="*/ 2030825 w 6829615"/>
              <a:gd name="connsiteY62" fmla="*/ 1890046 h 4031170"/>
              <a:gd name="connsiteX63" fmla="*/ 2030825 w 6829615"/>
              <a:gd name="connsiteY63" fmla="*/ 2294763 h 4031170"/>
              <a:gd name="connsiteX64" fmla="*/ 2171414 w 6829615"/>
              <a:gd name="connsiteY64" fmla="*/ 2536222 h 4031170"/>
              <a:gd name="connsiteX65" fmla="*/ 2171414 w 6829615"/>
              <a:gd name="connsiteY65" fmla="*/ 2782348 h 4031170"/>
              <a:gd name="connsiteX66" fmla="*/ 2424017 w 6829615"/>
              <a:gd name="connsiteY66" fmla="*/ 3204782 h 4031170"/>
              <a:gd name="connsiteX67" fmla="*/ 2424017 w 6829615"/>
              <a:gd name="connsiteY67" fmla="*/ 3455861 h 4031170"/>
              <a:gd name="connsiteX68" fmla="*/ 2493740 w 6829615"/>
              <a:gd name="connsiteY68" fmla="*/ 3546824 h 4031170"/>
              <a:gd name="connsiteX69" fmla="*/ 2523554 w 6829615"/>
              <a:gd name="connsiteY69" fmla="*/ 3497485 h 4031170"/>
              <a:gd name="connsiteX70" fmla="*/ 2523554 w 6829615"/>
              <a:gd name="connsiteY70" fmla="*/ 3311366 h 4031170"/>
              <a:gd name="connsiteX71" fmla="*/ 2882741 w 6829615"/>
              <a:gd name="connsiteY71" fmla="*/ 2736723 h 4031170"/>
              <a:gd name="connsiteX72" fmla="*/ 2885694 w 6829615"/>
              <a:gd name="connsiteY72" fmla="*/ 2291906 h 4031170"/>
              <a:gd name="connsiteX73" fmla="*/ 3159919 w 6829615"/>
              <a:gd name="connsiteY73" fmla="*/ 1831372 h 4031170"/>
              <a:gd name="connsiteX74" fmla="*/ 3448907 w 6829615"/>
              <a:gd name="connsiteY74" fmla="*/ 1830324 h 4031170"/>
              <a:gd name="connsiteX75" fmla="*/ 3463671 w 6829615"/>
              <a:gd name="connsiteY75" fmla="*/ 1805464 h 4031170"/>
              <a:gd name="connsiteX76" fmla="*/ 3139345 w 6829615"/>
              <a:gd name="connsiteY76" fmla="*/ 1804226 h 4031170"/>
              <a:gd name="connsiteX77" fmla="*/ 2795969 w 6829615"/>
              <a:gd name="connsiteY77" fmla="*/ 1241489 h 4031170"/>
              <a:gd name="connsiteX78" fmla="*/ 2806637 w 6829615"/>
              <a:gd name="connsiteY78" fmla="*/ 959072 h 4031170"/>
              <a:gd name="connsiteX79" fmla="*/ 2635949 w 6829615"/>
              <a:gd name="connsiteY79" fmla="*/ 708470 h 4031170"/>
              <a:gd name="connsiteX80" fmla="*/ 2205990 w 6829615"/>
              <a:gd name="connsiteY80" fmla="*/ 706184 h 4031170"/>
              <a:gd name="connsiteX81" fmla="*/ 2018062 w 6829615"/>
              <a:gd name="connsiteY81" fmla="*/ 1035939 h 4031170"/>
              <a:gd name="connsiteX82" fmla="*/ 1136618 w 6829615"/>
              <a:gd name="connsiteY82" fmla="*/ 1035939 h 4031170"/>
              <a:gd name="connsiteX83" fmla="*/ 966883 w 6829615"/>
              <a:gd name="connsiteY83" fmla="*/ 719423 h 4031170"/>
              <a:gd name="connsiteX84" fmla="*/ 906685 w 6829615"/>
              <a:gd name="connsiteY84" fmla="*/ 719423 h 4031170"/>
              <a:gd name="connsiteX85" fmla="*/ 707708 w 6829615"/>
              <a:gd name="connsiteY85" fmla="*/ 1096709 h 4031170"/>
              <a:gd name="connsiteX86" fmla="*/ 708946 w 6829615"/>
              <a:gd name="connsiteY86" fmla="*/ 1153954 h 4031170"/>
              <a:gd name="connsiteX87" fmla="*/ 2203990 w 6829615"/>
              <a:gd name="connsiteY87" fmla="*/ 1154811 h 4031170"/>
              <a:gd name="connsiteX88" fmla="*/ 2355342 w 6829615"/>
              <a:gd name="connsiteY88" fmla="*/ 858298 h 4031170"/>
              <a:gd name="connsiteX89" fmla="*/ 2559749 w 6829615"/>
              <a:gd name="connsiteY89" fmla="*/ 858298 h 4031170"/>
              <a:gd name="connsiteX90" fmla="*/ 2688812 w 6829615"/>
              <a:gd name="connsiteY90" fmla="*/ 1028414 h 4031170"/>
              <a:gd name="connsiteX91" fmla="*/ 2688812 w 6829615"/>
              <a:gd name="connsiteY91" fmla="*/ 1353217 h 4031170"/>
              <a:gd name="connsiteX92" fmla="*/ 3007519 w 6829615"/>
              <a:gd name="connsiteY92" fmla="*/ 1887664 h 4031170"/>
              <a:gd name="connsiteX93" fmla="*/ 2767394 w 6829615"/>
              <a:gd name="connsiteY93" fmla="*/ 2247900 h 4031170"/>
              <a:gd name="connsiteX94" fmla="*/ 2761583 w 6829615"/>
              <a:gd name="connsiteY94" fmla="*/ 2718149 h 4031170"/>
              <a:gd name="connsiteX95" fmla="*/ 2500313 w 6829615"/>
              <a:gd name="connsiteY95" fmla="*/ 3111532 h 4031170"/>
              <a:gd name="connsiteX96" fmla="*/ 2262378 w 6829615"/>
              <a:gd name="connsiteY96" fmla="*/ 2712149 h 4031170"/>
              <a:gd name="connsiteX97" fmla="*/ 2262378 w 6829615"/>
              <a:gd name="connsiteY97" fmla="*/ 2427446 h 4031170"/>
              <a:gd name="connsiteX98" fmla="*/ 2158460 w 6829615"/>
              <a:gd name="connsiteY98" fmla="*/ 2257139 h 4031170"/>
              <a:gd name="connsiteX99" fmla="*/ 2158460 w 6829615"/>
              <a:gd name="connsiteY99" fmla="*/ 1856708 h 4031170"/>
              <a:gd name="connsiteX100" fmla="*/ 1913192 w 6829615"/>
              <a:gd name="connsiteY100" fmla="*/ 1441323 h 4031170"/>
              <a:gd name="connsiteX101" fmla="*/ 2415635 w 6829615"/>
              <a:gd name="connsiteY101" fmla="*/ 1441323 h 4031170"/>
              <a:gd name="connsiteX102" fmla="*/ 2683859 w 6829615"/>
              <a:gd name="connsiteY102" fmla="*/ 1863090 h 4031170"/>
              <a:gd name="connsiteX103" fmla="*/ 2526887 w 6829615"/>
              <a:gd name="connsiteY103" fmla="*/ 2100072 h 4031170"/>
              <a:gd name="connsiteX104" fmla="*/ 2526887 w 6829615"/>
              <a:gd name="connsiteY104" fmla="*/ 2145125 h 4031170"/>
              <a:gd name="connsiteX105" fmla="*/ 2364962 w 6829615"/>
              <a:gd name="connsiteY105" fmla="*/ 2145125 h 4031170"/>
              <a:gd name="connsiteX106" fmla="*/ 2364962 w 6829615"/>
              <a:gd name="connsiteY106" fmla="*/ 2051399 h 4031170"/>
              <a:gd name="connsiteX107" fmla="*/ 2490788 w 6829615"/>
              <a:gd name="connsiteY107" fmla="*/ 1861280 h 4031170"/>
              <a:gd name="connsiteX108" fmla="*/ 2326672 w 6829615"/>
              <a:gd name="connsiteY108" fmla="*/ 1603248 h 4031170"/>
              <a:gd name="connsiteX109" fmla="*/ 2196846 w 6829615"/>
              <a:gd name="connsiteY109" fmla="*/ 1603248 h 4031170"/>
              <a:gd name="connsiteX110" fmla="*/ 2320385 w 6829615"/>
              <a:gd name="connsiteY110" fmla="*/ 1812417 h 4031170"/>
              <a:gd name="connsiteX111" fmla="*/ 2320385 w 6829615"/>
              <a:gd name="connsiteY111" fmla="*/ 2211705 h 4031170"/>
              <a:gd name="connsiteX112" fmla="*/ 2424303 w 6829615"/>
              <a:gd name="connsiteY112" fmla="*/ 2381917 h 4031170"/>
              <a:gd name="connsiteX113" fmla="*/ 2424303 w 6829615"/>
              <a:gd name="connsiteY113" fmla="*/ 2667572 h 4031170"/>
              <a:gd name="connsiteX114" fmla="*/ 2507742 w 6829615"/>
              <a:gd name="connsiteY114" fmla="*/ 2807684 h 4031170"/>
              <a:gd name="connsiteX115" fmla="*/ 2600325 w 6829615"/>
              <a:gd name="connsiteY115" fmla="*/ 2668334 h 4031170"/>
              <a:gd name="connsiteX116" fmla="*/ 2606040 w 6829615"/>
              <a:gd name="connsiteY116" fmla="*/ 2197894 h 4031170"/>
              <a:gd name="connsiteX117" fmla="*/ 2816066 w 6829615"/>
              <a:gd name="connsiteY117" fmla="*/ 1882902 h 4031170"/>
              <a:gd name="connsiteX118" fmla="*/ 2526887 w 6829615"/>
              <a:gd name="connsiteY118" fmla="*/ 1397794 h 4031170"/>
              <a:gd name="connsiteX119" fmla="*/ 2526887 w 6829615"/>
              <a:gd name="connsiteY119" fmla="*/ 1082897 h 4031170"/>
              <a:gd name="connsiteX120" fmla="*/ 2479358 w 6829615"/>
              <a:gd name="connsiteY120" fmla="*/ 1020223 h 4031170"/>
              <a:gd name="connsiteX121" fmla="*/ 2454497 w 6829615"/>
              <a:gd name="connsiteY121" fmla="*/ 1020223 h 4031170"/>
              <a:gd name="connsiteX122" fmla="*/ 2303145 w 6829615"/>
              <a:gd name="connsiteY122" fmla="*/ 1316831 h 4031170"/>
              <a:gd name="connsiteX123" fmla="*/ 759143 w 6829615"/>
              <a:gd name="connsiteY123" fmla="*/ 1315974 h 4031170"/>
              <a:gd name="connsiteX124" fmla="*/ 686562 w 6829615"/>
              <a:gd name="connsiteY124" fmla="*/ 1377315 h 4031170"/>
              <a:gd name="connsiteX125" fmla="*/ 602647 w 6829615"/>
              <a:gd name="connsiteY125" fmla="*/ 1378744 h 4031170"/>
              <a:gd name="connsiteX126" fmla="*/ 550259 w 6829615"/>
              <a:gd name="connsiteY126" fmla="*/ 1309402 h 4031170"/>
              <a:gd name="connsiteX127" fmla="*/ 545021 w 6829615"/>
              <a:gd name="connsiteY127" fmla="*/ 1058228 h 4031170"/>
              <a:gd name="connsiteX128" fmla="*/ 808958 w 6829615"/>
              <a:gd name="connsiteY128" fmla="*/ 557498 h 4031170"/>
              <a:gd name="connsiteX129" fmla="*/ 1063752 w 6829615"/>
              <a:gd name="connsiteY129" fmla="*/ 557498 h 4031170"/>
              <a:gd name="connsiteX130" fmla="*/ 1233583 w 6829615"/>
              <a:gd name="connsiteY130" fmla="*/ 874014 h 4031170"/>
              <a:gd name="connsiteX131" fmla="*/ 1923955 w 6829615"/>
              <a:gd name="connsiteY131" fmla="*/ 874014 h 4031170"/>
              <a:gd name="connsiteX132" fmla="*/ 2112264 w 6829615"/>
              <a:gd name="connsiteY132" fmla="*/ 543687 h 4031170"/>
              <a:gd name="connsiteX133" fmla="*/ 2721864 w 6829615"/>
              <a:gd name="connsiteY133" fmla="*/ 547021 h 4031170"/>
              <a:gd name="connsiteX134" fmla="*/ 2970371 w 6829615"/>
              <a:gd name="connsiteY134" fmla="*/ 911924 h 4031170"/>
              <a:gd name="connsiteX135" fmla="*/ 2959608 w 6829615"/>
              <a:gd name="connsiteY135" fmla="*/ 1198721 h 4031170"/>
              <a:gd name="connsiteX136" fmla="*/ 3230404 w 6829615"/>
              <a:gd name="connsiteY136" fmla="*/ 1642682 h 4031170"/>
              <a:gd name="connsiteX137" fmla="*/ 3747326 w 6829615"/>
              <a:gd name="connsiteY137" fmla="*/ 1644587 h 4031170"/>
              <a:gd name="connsiteX138" fmla="*/ 3541300 w 6829615"/>
              <a:gd name="connsiteY138" fmla="*/ 1991868 h 4031170"/>
              <a:gd name="connsiteX139" fmla="*/ 3252216 w 6829615"/>
              <a:gd name="connsiteY139" fmla="*/ 1993011 h 4031170"/>
              <a:gd name="connsiteX140" fmla="*/ 3047333 w 6829615"/>
              <a:gd name="connsiteY140" fmla="*/ 2336959 h 4031170"/>
              <a:gd name="connsiteX141" fmla="*/ 3044381 w 6829615"/>
              <a:gd name="connsiteY141" fmla="*/ 2783681 h 4031170"/>
              <a:gd name="connsiteX142" fmla="*/ 2685479 w 6829615"/>
              <a:gd name="connsiteY142" fmla="*/ 3357848 h 4031170"/>
              <a:gd name="connsiteX143" fmla="*/ 2685479 w 6829615"/>
              <a:gd name="connsiteY143" fmla="*/ 3542633 h 4031170"/>
              <a:gd name="connsiteX144" fmla="*/ 2572417 w 6829615"/>
              <a:gd name="connsiteY144" fmla="*/ 3729704 h 4031170"/>
              <a:gd name="connsiteX145" fmla="*/ 2429923 w 6829615"/>
              <a:gd name="connsiteY145" fmla="*/ 3729704 h 4031170"/>
              <a:gd name="connsiteX146" fmla="*/ 2262092 w 6829615"/>
              <a:gd name="connsiteY146" fmla="*/ 3510820 h 4031170"/>
              <a:gd name="connsiteX147" fmla="*/ 2262092 w 6829615"/>
              <a:gd name="connsiteY147" fmla="*/ 3249454 h 4031170"/>
              <a:gd name="connsiteX148" fmla="*/ 2009489 w 6829615"/>
              <a:gd name="connsiteY148" fmla="*/ 2827115 h 4031170"/>
              <a:gd name="connsiteX149" fmla="*/ 2009489 w 6829615"/>
              <a:gd name="connsiteY149" fmla="*/ 2579941 h 4031170"/>
              <a:gd name="connsiteX150" fmla="*/ 1868900 w 6829615"/>
              <a:gd name="connsiteY150" fmla="*/ 2338483 h 4031170"/>
              <a:gd name="connsiteX151" fmla="*/ 1868900 w 6829615"/>
              <a:gd name="connsiteY151" fmla="*/ 1931575 h 4031170"/>
              <a:gd name="connsiteX152" fmla="*/ 1692974 w 6829615"/>
              <a:gd name="connsiteY152" fmla="*/ 1611154 h 4031170"/>
              <a:gd name="connsiteX153" fmla="*/ 903827 w 6829615"/>
              <a:gd name="connsiteY153" fmla="*/ 1611154 h 4031170"/>
              <a:gd name="connsiteX154" fmla="*/ 800481 w 6829615"/>
              <a:gd name="connsiteY154" fmla="*/ 1746314 h 4031170"/>
              <a:gd name="connsiteX155" fmla="*/ 513398 w 6829615"/>
              <a:gd name="connsiteY155" fmla="*/ 1746314 h 4031170"/>
              <a:gd name="connsiteX156" fmla="*/ 267653 w 6829615"/>
              <a:gd name="connsiteY156" fmla="*/ 1391984 h 4031170"/>
              <a:gd name="connsiteX157" fmla="*/ 258413 w 6829615"/>
              <a:gd name="connsiteY157" fmla="*/ 954119 h 4031170"/>
              <a:gd name="connsiteX158" fmla="*/ 644843 w 6829615"/>
              <a:gd name="connsiteY158" fmla="*/ 269462 h 4031170"/>
              <a:gd name="connsiteX159" fmla="*/ 1195102 w 6829615"/>
              <a:gd name="connsiteY159" fmla="*/ 269462 h 4031170"/>
              <a:gd name="connsiteX160" fmla="*/ 1397984 w 6829615"/>
              <a:gd name="connsiteY160" fmla="*/ 616172 h 4031170"/>
              <a:gd name="connsiteX161" fmla="*/ 1777937 w 6829615"/>
              <a:gd name="connsiteY161" fmla="*/ 616172 h 4031170"/>
              <a:gd name="connsiteX162" fmla="*/ 1962722 w 6829615"/>
              <a:gd name="connsiteY162" fmla="*/ 278987 h 4031170"/>
              <a:gd name="connsiteX163" fmla="*/ 2831402 w 6829615"/>
              <a:gd name="connsiteY163" fmla="*/ 278987 h 4031170"/>
              <a:gd name="connsiteX164" fmla="*/ 3219545 w 6829615"/>
              <a:gd name="connsiteY164" fmla="*/ 815435 h 4031170"/>
              <a:gd name="connsiteX165" fmla="*/ 3219069 w 6829615"/>
              <a:gd name="connsiteY165" fmla="*/ 1140905 h 4031170"/>
              <a:gd name="connsiteX166" fmla="*/ 3378041 w 6829615"/>
              <a:gd name="connsiteY166" fmla="*/ 1414082 h 4031170"/>
              <a:gd name="connsiteX167" fmla="*/ 4152138 w 6829615"/>
              <a:gd name="connsiteY167" fmla="*/ 1414082 h 4031170"/>
              <a:gd name="connsiteX168" fmla="*/ 3689318 w 6829615"/>
              <a:gd name="connsiteY168" fmla="*/ 2223326 h 4031170"/>
              <a:gd name="connsiteX169" fmla="*/ 3462719 w 6829615"/>
              <a:gd name="connsiteY169" fmla="*/ 2220944 h 4031170"/>
              <a:gd name="connsiteX170" fmla="*/ 3312128 w 6829615"/>
              <a:gd name="connsiteY170" fmla="*/ 2458498 h 4031170"/>
              <a:gd name="connsiteX171" fmla="*/ 3312128 w 6829615"/>
              <a:gd name="connsiteY171" fmla="*/ 2864263 h 4031170"/>
              <a:gd name="connsiteX172" fmla="*/ 2926175 w 6829615"/>
              <a:gd name="connsiteY172" fmla="*/ 3469386 h 4031170"/>
              <a:gd name="connsiteX173" fmla="*/ 2926175 w 6829615"/>
              <a:gd name="connsiteY173" fmla="*/ 3685604 h 4031170"/>
              <a:gd name="connsiteX174" fmla="*/ 2718340 w 6829615"/>
              <a:gd name="connsiteY174" fmla="*/ 4031171 h 4031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829615" h="4031170">
                <a:moveTo>
                  <a:pt x="2718340" y="4031171"/>
                </a:moveTo>
                <a:lnTo>
                  <a:pt x="2288381" y="4028504"/>
                </a:lnTo>
                <a:lnTo>
                  <a:pt x="1978724" y="3663887"/>
                </a:lnTo>
                <a:lnTo>
                  <a:pt x="1978724" y="3314129"/>
                </a:lnTo>
                <a:lnTo>
                  <a:pt x="1742980" y="2885599"/>
                </a:lnTo>
                <a:lnTo>
                  <a:pt x="1743742" y="2627662"/>
                </a:lnTo>
                <a:lnTo>
                  <a:pt x="1603534" y="2383631"/>
                </a:lnTo>
                <a:lnTo>
                  <a:pt x="1603534" y="1988344"/>
                </a:lnTo>
                <a:lnTo>
                  <a:pt x="1563624" y="1916906"/>
                </a:lnTo>
                <a:lnTo>
                  <a:pt x="1009840" y="1916906"/>
                </a:lnTo>
                <a:lnTo>
                  <a:pt x="947833" y="2024443"/>
                </a:lnTo>
                <a:lnTo>
                  <a:pt x="351282" y="2024443"/>
                </a:lnTo>
                <a:lnTo>
                  <a:pt x="0" y="1478661"/>
                </a:lnTo>
                <a:lnTo>
                  <a:pt x="0" y="860965"/>
                </a:lnTo>
                <a:lnTo>
                  <a:pt x="512636" y="0"/>
                </a:lnTo>
                <a:lnTo>
                  <a:pt x="1361408" y="0"/>
                </a:lnTo>
                <a:lnTo>
                  <a:pt x="1537526" y="290417"/>
                </a:lnTo>
                <a:lnTo>
                  <a:pt x="1638967" y="289751"/>
                </a:lnTo>
                <a:lnTo>
                  <a:pt x="1798130" y="0"/>
                </a:lnTo>
                <a:lnTo>
                  <a:pt x="6829616" y="0"/>
                </a:lnTo>
                <a:lnTo>
                  <a:pt x="6829616" y="161925"/>
                </a:lnTo>
                <a:lnTo>
                  <a:pt x="1893951" y="161925"/>
                </a:lnTo>
                <a:lnTo>
                  <a:pt x="1735169" y="451104"/>
                </a:lnTo>
                <a:lnTo>
                  <a:pt x="1446752" y="452914"/>
                </a:lnTo>
                <a:lnTo>
                  <a:pt x="1270254" y="161925"/>
                </a:lnTo>
                <a:lnTo>
                  <a:pt x="604647" y="161925"/>
                </a:lnTo>
                <a:lnTo>
                  <a:pt x="161925" y="905447"/>
                </a:lnTo>
                <a:lnTo>
                  <a:pt x="161925" y="1431036"/>
                </a:lnTo>
                <a:lnTo>
                  <a:pt x="439674" y="1862518"/>
                </a:lnTo>
                <a:lnTo>
                  <a:pt x="854297" y="1862518"/>
                </a:lnTo>
                <a:lnTo>
                  <a:pt x="916305" y="1754981"/>
                </a:lnTo>
                <a:lnTo>
                  <a:pt x="1658684" y="1754981"/>
                </a:lnTo>
                <a:lnTo>
                  <a:pt x="1765459" y="1946148"/>
                </a:lnTo>
                <a:lnTo>
                  <a:pt x="1765459" y="2340388"/>
                </a:lnTo>
                <a:lnTo>
                  <a:pt x="1905762" y="2584704"/>
                </a:lnTo>
                <a:lnTo>
                  <a:pt x="1905000" y="2844260"/>
                </a:lnTo>
                <a:lnTo>
                  <a:pt x="2140649" y="3272504"/>
                </a:lnTo>
                <a:lnTo>
                  <a:pt x="2140649" y="3604451"/>
                </a:lnTo>
                <a:lnTo>
                  <a:pt x="2363724" y="3867055"/>
                </a:lnTo>
                <a:lnTo>
                  <a:pt x="2627090" y="3868674"/>
                </a:lnTo>
                <a:lnTo>
                  <a:pt x="2764250" y="3640646"/>
                </a:lnTo>
                <a:lnTo>
                  <a:pt x="2764250" y="3422047"/>
                </a:lnTo>
                <a:lnTo>
                  <a:pt x="3150203" y="2817019"/>
                </a:lnTo>
                <a:lnTo>
                  <a:pt x="3150203" y="2411444"/>
                </a:lnTo>
                <a:lnTo>
                  <a:pt x="3374231" y="2058067"/>
                </a:lnTo>
                <a:lnTo>
                  <a:pt x="3595973" y="2060448"/>
                </a:lnTo>
                <a:lnTo>
                  <a:pt x="3872960" y="1576007"/>
                </a:lnTo>
                <a:lnTo>
                  <a:pt x="3284982" y="1576007"/>
                </a:lnTo>
                <a:lnTo>
                  <a:pt x="3057049" y="1184529"/>
                </a:lnTo>
                <a:lnTo>
                  <a:pt x="3057525" y="867728"/>
                </a:lnTo>
                <a:lnTo>
                  <a:pt x="2748724" y="440912"/>
                </a:lnTo>
                <a:lnTo>
                  <a:pt x="2058638" y="440912"/>
                </a:lnTo>
                <a:lnTo>
                  <a:pt x="1873853" y="778097"/>
                </a:lnTo>
                <a:lnTo>
                  <a:pt x="1305116" y="778097"/>
                </a:lnTo>
                <a:lnTo>
                  <a:pt x="1102233" y="431387"/>
                </a:lnTo>
                <a:lnTo>
                  <a:pt x="739426" y="431387"/>
                </a:lnTo>
                <a:lnTo>
                  <a:pt x="421196" y="995077"/>
                </a:lnTo>
                <a:lnTo>
                  <a:pt x="428435" y="1339787"/>
                </a:lnTo>
                <a:lnTo>
                  <a:pt x="598075" y="1584389"/>
                </a:lnTo>
                <a:lnTo>
                  <a:pt x="720471" y="1584389"/>
                </a:lnTo>
                <a:lnTo>
                  <a:pt x="823817" y="1449229"/>
                </a:lnTo>
                <a:lnTo>
                  <a:pt x="1788795" y="1449229"/>
                </a:lnTo>
                <a:lnTo>
                  <a:pt x="2030825" y="1890046"/>
                </a:lnTo>
                <a:lnTo>
                  <a:pt x="2030825" y="2294763"/>
                </a:lnTo>
                <a:lnTo>
                  <a:pt x="2171414" y="2536222"/>
                </a:lnTo>
                <a:lnTo>
                  <a:pt x="2171414" y="2782348"/>
                </a:lnTo>
                <a:lnTo>
                  <a:pt x="2424017" y="3204782"/>
                </a:lnTo>
                <a:lnTo>
                  <a:pt x="2424017" y="3455861"/>
                </a:lnTo>
                <a:lnTo>
                  <a:pt x="2493740" y="3546824"/>
                </a:lnTo>
                <a:lnTo>
                  <a:pt x="2523554" y="3497485"/>
                </a:lnTo>
                <a:lnTo>
                  <a:pt x="2523554" y="3311366"/>
                </a:lnTo>
                <a:lnTo>
                  <a:pt x="2882741" y="2736723"/>
                </a:lnTo>
                <a:lnTo>
                  <a:pt x="2885694" y="2291906"/>
                </a:lnTo>
                <a:lnTo>
                  <a:pt x="3159919" y="1831372"/>
                </a:lnTo>
                <a:lnTo>
                  <a:pt x="3448907" y="1830324"/>
                </a:lnTo>
                <a:lnTo>
                  <a:pt x="3463671" y="1805464"/>
                </a:lnTo>
                <a:lnTo>
                  <a:pt x="3139345" y="1804226"/>
                </a:lnTo>
                <a:lnTo>
                  <a:pt x="2795969" y="1241489"/>
                </a:lnTo>
                <a:lnTo>
                  <a:pt x="2806637" y="959072"/>
                </a:lnTo>
                <a:lnTo>
                  <a:pt x="2635949" y="708470"/>
                </a:lnTo>
                <a:lnTo>
                  <a:pt x="2205990" y="706184"/>
                </a:lnTo>
                <a:lnTo>
                  <a:pt x="2018062" y="1035939"/>
                </a:lnTo>
                <a:lnTo>
                  <a:pt x="1136618" y="1035939"/>
                </a:lnTo>
                <a:lnTo>
                  <a:pt x="966883" y="719423"/>
                </a:lnTo>
                <a:lnTo>
                  <a:pt x="906685" y="719423"/>
                </a:lnTo>
                <a:lnTo>
                  <a:pt x="707708" y="1096709"/>
                </a:lnTo>
                <a:lnTo>
                  <a:pt x="708946" y="1153954"/>
                </a:lnTo>
                <a:lnTo>
                  <a:pt x="2203990" y="1154811"/>
                </a:lnTo>
                <a:lnTo>
                  <a:pt x="2355342" y="858298"/>
                </a:lnTo>
                <a:lnTo>
                  <a:pt x="2559749" y="858298"/>
                </a:lnTo>
                <a:lnTo>
                  <a:pt x="2688812" y="1028414"/>
                </a:lnTo>
                <a:lnTo>
                  <a:pt x="2688812" y="1353217"/>
                </a:lnTo>
                <a:lnTo>
                  <a:pt x="3007519" y="1887664"/>
                </a:lnTo>
                <a:lnTo>
                  <a:pt x="2767394" y="2247900"/>
                </a:lnTo>
                <a:lnTo>
                  <a:pt x="2761583" y="2718149"/>
                </a:lnTo>
                <a:lnTo>
                  <a:pt x="2500313" y="3111532"/>
                </a:lnTo>
                <a:lnTo>
                  <a:pt x="2262378" y="2712149"/>
                </a:lnTo>
                <a:lnTo>
                  <a:pt x="2262378" y="2427446"/>
                </a:lnTo>
                <a:lnTo>
                  <a:pt x="2158460" y="2257139"/>
                </a:lnTo>
                <a:lnTo>
                  <a:pt x="2158460" y="1856708"/>
                </a:lnTo>
                <a:lnTo>
                  <a:pt x="1913192" y="1441323"/>
                </a:lnTo>
                <a:lnTo>
                  <a:pt x="2415635" y="1441323"/>
                </a:lnTo>
                <a:lnTo>
                  <a:pt x="2683859" y="1863090"/>
                </a:lnTo>
                <a:lnTo>
                  <a:pt x="2526887" y="2100072"/>
                </a:lnTo>
                <a:lnTo>
                  <a:pt x="2526887" y="2145125"/>
                </a:lnTo>
                <a:lnTo>
                  <a:pt x="2364962" y="2145125"/>
                </a:lnTo>
                <a:lnTo>
                  <a:pt x="2364962" y="2051399"/>
                </a:lnTo>
                <a:lnTo>
                  <a:pt x="2490788" y="1861280"/>
                </a:lnTo>
                <a:lnTo>
                  <a:pt x="2326672" y="1603248"/>
                </a:lnTo>
                <a:lnTo>
                  <a:pt x="2196846" y="1603248"/>
                </a:lnTo>
                <a:lnTo>
                  <a:pt x="2320385" y="1812417"/>
                </a:lnTo>
                <a:lnTo>
                  <a:pt x="2320385" y="2211705"/>
                </a:lnTo>
                <a:lnTo>
                  <a:pt x="2424303" y="2381917"/>
                </a:lnTo>
                <a:lnTo>
                  <a:pt x="2424303" y="2667572"/>
                </a:lnTo>
                <a:lnTo>
                  <a:pt x="2507742" y="2807684"/>
                </a:lnTo>
                <a:lnTo>
                  <a:pt x="2600325" y="2668334"/>
                </a:lnTo>
                <a:lnTo>
                  <a:pt x="2606040" y="2197894"/>
                </a:lnTo>
                <a:lnTo>
                  <a:pt x="2816066" y="1882902"/>
                </a:lnTo>
                <a:lnTo>
                  <a:pt x="2526887" y="1397794"/>
                </a:lnTo>
                <a:lnTo>
                  <a:pt x="2526887" y="1082897"/>
                </a:lnTo>
                <a:lnTo>
                  <a:pt x="2479358" y="1020223"/>
                </a:lnTo>
                <a:lnTo>
                  <a:pt x="2454497" y="1020223"/>
                </a:lnTo>
                <a:lnTo>
                  <a:pt x="2303145" y="1316831"/>
                </a:lnTo>
                <a:lnTo>
                  <a:pt x="759143" y="1315974"/>
                </a:lnTo>
                <a:lnTo>
                  <a:pt x="686562" y="1377315"/>
                </a:lnTo>
                <a:lnTo>
                  <a:pt x="602647" y="1378744"/>
                </a:lnTo>
                <a:lnTo>
                  <a:pt x="550259" y="1309402"/>
                </a:lnTo>
                <a:lnTo>
                  <a:pt x="545021" y="1058228"/>
                </a:lnTo>
                <a:lnTo>
                  <a:pt x="808958" y="557498"/>
                </a:lnTo>
                <a:lnTo>
                  <a:pt x="1063752" y="557498"/>
                </a:lnTo>
                <a:lnTo>
                  <a:pt x="1233583" y="874014"/>
                </a:lnTo>
                <a:lnTo>
                  <a:pt x="1923955" y="874014"/>
                </a:lnTo>
                <a:lnTo>
                  <a:pt x="2112264" y="543687"/>
                </a:lnTo>
                <a:lnTo>
                  <a:pt x="2721864" y="547021"/>
                </a:lnTo>
                <a:lnTo>
                  <a:pt x="2970371" y="911924"/>
                </a:lnTo>
                <a:lnTo>
                  <a:pt x="2959608" y="1198721"/>
                </a:lnTo>
                <a:lnTo>
                  <a:pt x="3230404" y="1642682"/>
                </a:lnTo>
                <a:lnTo>
                  <a:pt x="3747326" y="1644587"/>
                </a:lnTo>
                <a:lnTo>
                  <a:pt x="3541300" y="1991868"/>
                </a:lnTo>
                <a:lnTo>
                  <a:pt x="3252216" y="1993011"/>
                </a:lnTo>
                <a:lnTo>
                  <a:pt x="3047333" y="2336959"/>
                </a:lnTo>
                <a:lnTo>
                  <a:pt x="3044381" y="2783681"/>
                </a:lnTo>
                <a:lnTo>
                  <a:pt x="2685479" y="3357848"/>
                </a:lnTo>
                <a:lnTo>
                  <a:pt x="2685479" y="3542633"/>
                </a:lnTo>
                <a:lnTo>
                  <a:pt x="2572417" y="3729704"/>
                </a:lnTo>
                <a:lnTo>
                  <a:pt x="2429923" y="3729704"/>
                </a:lnTo>
                <a:lnTo>
                  <a:pt x="2262092" y="3510820"/>
                </a:lnTo>
                <a:lnTo>
                  <a:pt x="2262092" y="3249454"/>
                </a:lnTo>
                <a:lnTo>
                  <a:pt x="2009489" y="2827115"/>
                </a:lnTo>
                <a:lnTo>
                  <a:pt x="2009489" y="2579941"/>
                </a:lnTo>
                <a:lnTo>
                  <a:pt x="1868900" y="2338483"/>
                </a:lnTo>
                <a:lnTo>
                  <a:pt x="1868900" y="1931575"/>
                </a:lnTo>
                <a:lnTo>
                  <a:pt x="1692974" y="1611154"/>
                </a:lnTo>
                <a:lnTo>
                  <a:pt x="903827" y="1611154"/>
                </a:lnTo>
                <a:lnTo>
                  <a:pt x="800481" y="1746314"/>
                </a:lnTo>
                <a:lnTo>
                  <a:pt x="513398" y="1746314"/>
                </a:lnTo>
                <a:lnTo>
                  <a:pt x="267653" y="1391984"/>
                </a:lnTo>
                <a:lnTo>
                  <a:pt x="258413" y="954119"/>
                </a:lnTo>
                <a:lnTo>
                  <a:pt x="644843" y="269462"/>
                </a:lnTo>
                <a:lnTo>
                  <a:pt x="1195102" y="269462"/>
                </a:lnTo>
                <a:lnTo>
                  <a:pt x="1397984" y="616172"/>
                </a:lnTo>
                <a:lnTo>
                  <a:pt x="1777937" y="616172"/>
                </a:lnTo>
                <a:lnTo>
                  <a:pt x="1962722" y="278987"/>
                </a:lnTo>
                <a:lnTo>
                  <a:pt x="2831402" y="278987"/>
                </a:lnTo>
                <a:lnTo>
                  <a:pt x="3219545" y="815435"/>
                </a:lnTo>
                <a:lnTo>
                  <a:pt x="3219069" y="1140905"/>
                </a:lnTo>
                <a:lnTo>
                  <a:pt x="3378041" y="1414082"/>
                </a:lnTo>
                <a:lnTo>
                  <a:pt x="4152138" y="1414082"/>
                </a:lnTo>
                <a:lnTo>
                  <a:pt x="3689318" y="2223326"/>
                </a:lnTo>
                <a:lnTo>
                  <a:pt x="3462719" y="2220944"/>
                </a:lnTo>
                <a:lnTo>
                  <a:pt x="3312128" y="2458498"/>
                </a:lnTo>
                <a:lnTo>
                  <a:pt x="3312128" y="2864263"/>
                </a:lnTo>
                <a:lnTo>
                  <a:pt x="2926175" y="3469386"/>
                </a:lnTo>
                <a:lnTo>
                  <a:pt x="2926175" y="3685604"/>
                </a:lnTo>
                <a:lnTo>
                  <a:pt x="2718340" y="4031171"/>
                </a:lnTo>
                <a:close/>
              </a:path>
            </a:pathLst>
          </a:custGeom>
          <a:solidFill>
            <a:srgbClr val="7DBA0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03841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pic>
        <p:nvPicPr>
          <p:cNvPr id="10" name="Picture 9" descr="A green train on a track&#10;&#10;Description automatically generated">
            <a:extLst>
              <a:ext uri="{FF2B5EF4-FFF2-40B4-BE49-F238E27FC236}">
                <a16:creationId xmlns:a16="http://schemas.microsoft.com/office/drawing/2014/main" id="{632EF9B6-B7F2-5B68-A22D-54C283B3FF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07840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A49168BD-AB6E-E377-7CEA-0E7694373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8551" y="1078100"/>
            <a:ext cx="5071263" cy="258532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4970" y="395211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2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94242760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 descr="Colourful cargo containers stacked with a worker standing">
            <a:extLst>
              <a:ext uri="{FF2B5EF4-FFF2-40B4-BE49-F238E27FC236}">
                <a16:creationId xmlns:a16="http://schemas.microsoft.com/office/drawing/2014/main" id="{77320EED-BBCB-8B40-2FBE-A4CA2CA7D0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17133964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Train tracks with train cars on each side&#10;&#10;Description automatically generated">
            <a:extLst>
              <a:ext uri="{FF2B5EF4-FFF2-40B4-BE49-F238E27FC236}">
                <a16:creationId xmlns:a16="http://schemas.microsoft.com/office/drawing/2014/main" id="{2ED9AAEA-3731-AD3D-0F78-72016945F3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271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4614" y="1239087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85615" y="3772254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318903837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yellow pipes on a building&#10;&#10;Description automatically generated with medium confidence">
            <a:extLst>
              <a:ext uri="{FF2B5EF4-FFF2-40B4-BE49-F238E27FC236}">
                <a16:creationId xmlns:a16="http://schemas.microsoft.com/office/drawing/2014/main" id="{9EB74ED6-8907-4B51-479C-FDD3F66E7F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57731035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 descr="Top view of a wooden desk with a white keyboard, drawing plan and drawing compass, and pens.">
            <a:extLst>
              <a:ext uri="{FF2B5EF4-FFF2-40B4-BE49-F238E27FC236}">
                <a16:creationId xmlns:a16="http://schemas.microsoft.com/office/drawing/2014/main" id="{A49168BD-AB6E-E377-7CEA-0E7694373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40262053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755" y="4945338"/>
            <a:ext cx="6543458" cy="615553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DF6E4E97-1E5E-6DDC-51DB-51A4B672C7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8757" y="5572294"/>
            <a:ext cx="5032147" cy="484025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398280159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3994C55-28DA-03C2-35BC-75F5D854F08B}"/>
              </a:ext>
            </a:extLst>
          </p:cNvPr>
          <p:cNvSpPr/>
          <p:nvPr userDrawn="1"/>
        </p:nvSpPr>
        <p:spPr>
          <a:xfrm>
            <a:off x="0" y="0"/>
            <a:ext cx="12192001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E6505-1432-E7D8-FDE1-5E4383D36C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82543" y="-1"/>
            <a:ext cx="4909457" cy="6858257"/>
          </a:xfrm>
          <a:custGeom>
            <a:avLst/>
            <a:gdLst>
              <a:gd name="connsiteX0" fmla="*/ 0 w 4401300"/>
              <a:gd name="connsiteY0" fmla="*/ 0 h 6148388"/>
              <a:gd name="connsiteX1" fmla="*/ 4401300 w 4401300"/>
              <a:gd name="connsiteY1" fmla="*/ 0 h 6148388"/>
              <a:gd name="connsiteX2" fmla="*/ 4401300 w 4401300"/>
              <a:gd name="connsiteY2" fmla="*/ 6148388 h 6148388"/>
              <a:gd name="connsiteX3" fmla="*/ 3799566 w 4401300"/>
              <a:gd name="connsiteY3" fmla="*/ 6148388 h 614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01300" h="6148388">
                <a:moveTo>
                  <a:pt x="0" y="0"/>
                </a:moveTo>
                <a:lnTo>
                  <a:pt x="4401300" y="0"/>
                </a:lnTo>
                <a:lnTo>
                  <a:pt x="4401300" y="6148388"/>
                </a:lnTo>
                <a:lnTo>
                  <a:pt x="3799566" y="6148388"/>
                </a:lnTo>
                <a:close/>
              </a:path>
            </a:pathLst>
          </a:cu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615020BA-0B93-180E-3093-EAC3BCC73B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4" y="517638"/>
            <a:ext cx="5889053" cy="410136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8CE118E7-1BAE-2BED-BA49-7E01CC506DEF}"/>
              </a:ext>
            </a:extLst>
          </p:cNvPr>
          <p:cNvSpPr/>
          <p:nvPr userDrawn="1"/>
        </p:nvSpPr>
        <p:spPr>
          <a:xfrm>
            <a:off x="11521842" y="6474757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2C509C7-F64D-8D3C-E43B-BAD58331BD3D}"/>
              </a:ext>
            </a:extLst>
          </p:cNvPr>
          <p:cNvSpPr/>
          <p:nvPr userDrawn="1"/>
        </p:nvSpPr>
        <p:spPr>
          <a:xfrm>
            <a:off x="11588593" y="65348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 dirty="0">
              <a:solidFill>
                <a:schemeClr val="bg1"/>
              </a:solidFill>
              <a:latin typeface="Tahoma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9A9D43-FF02-9C81-1CFC-D9B244C575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152400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6" name="Graphic 64">
            <a:extLst>
              <a:ext uri="{FF2B5EF4-FFF2-40B4-BE49-F238E27FC236}">
                <a16:creationId xmlns:a16="http://schemas.microsoft.com/office/drawing/2014/main" id="{410252B1-98B5-8714-70E8-11601AFBFE16}"/>
              </a:ext>
            </a:extLst>
          </p:cNvPr>
          <p:cNvSpPr/>
          <p:nvPr userDrawn="1"/>
        </p:nvSpPr>
        <p:spPr>
          <a:xfrm>
            <a:off x="209511" y="923680"/>
            <a:ext cx="10009519" cy="1141126"/>
          </a:xfrm>
          <a:custGeom>
            <a:avLst/>
            <a:gdLst>
              <a:gd name="connsiteX0" fmla="*/ 7482459 w 7482459"/>
              <a:gd name="connsiteY0" fmla="*/ 0 h 963549"/>
              <a:gd name="connsiteX1" fmla="*/ 439579 w 7482459"/>
              <a:gd name="connsiteY1" fmla="*/ 0 h 963549"/>
              <a:gd name="connsiteX2" fmla="*/ 399955 w 7482459"/>
              <a:gd name="connsiteY2" fmla="*/ 72009 h 963549"/>
              <a:gd name="connsiteX3" fmla="*/ 351377 w 7482459"/>
              <a:gd name="connsiteY3" fmla="*/ 72390 h 963549"/>
              <a:gd name="connsiteX4" fmla="*/ 307467 w 7482459"/>
              <a:gd name="connsiteY4" fmla="*/ 0 h 963549"/>
              <a:gd name="connsiteX5" fmla="*/ 118967 w 7482459"/>
              <a:gd name="connsiteY5" fmla="*/ 0 h 963549"/>
              <a:gd name="connsiteX6" fmla="*/ 0 w 7482459"/>
              <a:gd name="connsiteY6" fmla="*/ 199739 h 963549"/>
              <a:gd name="connsiteX7" fmla="*/ 0 w 7482459"/>
              <a:gd name="connsiteY7" fmla="*/ 342138 h 963549"/>
              <a:gd name="connsiteX8" fmla="*/ 78296 w 7482459"/>
              <a:gd name="connsiteY8" fmla="*/ 463772 h 963549"/>
              <a:gd name="connsiteX9" fmla="*/ 204216 w 7482459"/>
              <a:gd name="connsiteY9" fmla="*/ 463772 h 963549"/>
              <a:gd name="connsiteX10" fmla="*/ 219647 w 7482459"/>
              <a:gd name="connsiteY10" fmla="*/ 437007 h 963549"/>
              <a:gd name="connsiteX11" fmla="*/ 381000 w 7482459"/>
              <a:gd name="connsiteY11" fmla="*/ 437007 h 963549"/>
              <a:gd name="connsiteX12" fmla="*/ 399288 w 7482459"/>
              <a:gd name="connsiteY12" fmla="*/ 469773 h 963549"/>
              <a:gd name="connsiteX13" fmla="*/ 399288 w 7482459"/>
              <a:gd name="connsiteY13" fmla="*/ 568071 h 963549"/>
              <a:gd name="connsiteX14" fmla="*/ 434245 w 7482459"/>
              <a:gd name="connsiteY14" fmla="*/ 628841 h 963549"/>
              <a:gd name="connsiteX15" fmla="*/ 434054 w 7482459"/>
              <a:gd name="connsiteY15" fmla="*/ 693325 h 963549"/>
              <a:gd name="connsiteX16" fmla="*/ 492728 w 7482459"/>
              <a:gd name="connsiteY16" fmla="*/ 800005 h 963549"/>
              <a:gd name="connsiteX17" fmla="*/ 492728 w 7482459"/>
              <a:gd name="connsiteY17" fmla="*/ 884873 h 963549"/>
              <a:gd name="connsiteX18" fmla="*/ 559118 w 7482459"/>
              <a:gd name="connsiteY18" fmla="*/ 962978 h 963549"/>
              <a:gd name="connsiteX19" fmla="*/ 645414 w 7482459"/>
              <a:gd name="connsiteY19" fmla="*/ 963549 h 963549"/>
              <a:gd name="connsiteX20" fmla="*/ 688372 w 7482459"/>
              <a:gd name="connsiteY20" fmla="*/ 892112 h 963549"/>
              <a:gd name="connsiteX21" fmla="*/ 688372 w 7482459"/>
              <a:gd name="connsiteY21" fmla="*/ 837914 h 963549"/>
              <a:gd name="connsiteX22" fmla="*/ 784479 w 7482459"/>
              <a:gd name="connsiteY22" fmla="*/ 687229 h 963549"/>
              <a:gd name="connsiteX23" fmla="*/ 784479 w 7482459"/>
              <a:gd name="connsiteY23" fmla="*/ 586169 h 963549"/>
              <a:gd name="connsiteX24" fmla="*/ 831152 w 7482459"/>
              <a:gd name="connsiteY24" fmla="*/ 512636 h 963549"/>
              <a:gd name="connsiteX25" fmla="*/ 886968 w 7482459"/>
              <a:gd name="connsiteY25" fmla="*/ 513207 h 963549"/>
              <a:gd name="connsiteX26" fmla="*/ 979075 w 7482459"/>
              <a:gd name="connsiteY26" fmla="*/ 352139 h 963549"/>
              <a:gd name="connsiteX27" fmla="*/ 809530 w 7482459"/>
              <a:gd name="connsiteY27" fmla="*/ 352139 h 963549"/>
              <a:gd name="connsiteX28" fmla="*/ 761333 w 7482459"/>
              <a:gd name="connsiteY28" fmla="*/ 269367 h 963549"/>
              <a:gd name="connsiteX29" fmla="*/ 761429 w 7482459"/>
              <a:gd name="connsiteY29" fmla="*/ 189357 h 963549"/>
              <a:gd name="connsiteX30" fmla="*/ 681419 w 7482459"/>
              <a:gd name="connsiteY30" fmla="*/ 77438 h 963549"/>
              <a:gd name="connsiteX31" fmla="*/ 655511 w 7482459"/>
              <a:gd name="connsiteY31" fmla="*/ 77438 h 963549"/>
              <a:gd name="connsiteX32" fmla="*/ 487299 w 7482459"/>
              <a:gd name="connsiteY32" fmla="*/ 77438 h 963549"/>
              <a:gd name="connsiteX33" fmla="*/ 443293 w 7482459"/>
              <a:gd name="connsiteY33" fmla="*/ 153448 h 963549"/>
              <a:gd name="connsiteX34" fmla="*/ 316421 w 7482459"/>
              <a:gd name="connsiteY34" fmla="*/ 153448 h 963549"/>
              <a:gd name="connsiteX35" fmla="*/ 265843 w 7482459"/>
              <a:gd name="connsiteY35" fmla="*/ 67056 h 963549"/>
              <a:gd name="connsiteX36" fmla="*/ 159639 w 7482459"/>
              <a:gd name="connsiteY36" fmla="*/ 67056 h 963549"/>
              <a:gd name="connsiteX37" fmla="*/ 71914 w 7482459"/>
              <a:gd name="connsiteY37" fmla="*/ 225457 h 963549"/>
              <a:gd name="connsiteX38" fmla="*/ 71914 w 7482459"/>
              <a:gd name="connsiteY38" fmla="*/ 311753 h 963549"/>
              <a:gd name="connsiteX39" fmla="*/ 121825 w 7482459"/>
              <a:gd name="connsiteY39" fmla="*/ 393192 h 963549"/>
              <a:gd name="connsiteX40" fmla="*/ 160687 w 7482459"/>
              <a:gd name="connsiteY40" fmla="*/ 393192 h 963549"/>
              <a:gd name="connsiteX41" fmla="*/ 173260 w 7482459"/>
              <a:gd name="connsiteY41" fmla="*/ 370332 h 963549"/>
              <a:gd name="connsiteX42" fmla="*/ 416433 w 7482459"/>
              <a:gd name="connsiteY42" fmla="*/ 370332 h 963549"/>
              <a:gd name="connsiteX43" fmla="*/ 465392 w 7482459"/>
              <a:gd name="connsiteY43" fmla="*/ 455676 h 963549"/>
              <a:gd name="connsiteX44" fmla="*/ 465392 w 7482459"/>
              <a:gd name="connsiteY44" fmla="*/ 556736 h 963549"/>
              <a:gd name="connsiteX45" fmla="*/ 500443 w 7482459"/>
              <a:gd name="connsiteY45" fmla="*/ 616839 h 963549"/>
              <a:gd name="connsiteX46" fmla="*/ 500443 w 7482459"/>
              <a:gd name="connsiteY46" fmla="*/ 678275 h 963549"/>
              <a:gd name="connsiteX47" fmla="*/ 563309 w 7482459"/>
              <a:gd name="connsiteY47" fmla="*/ 783527 h 963549"/>
              <a:gd name="connsiteX48" fmla="*/ 563309 w 7482459"/>
              <a:gd name="connsiteY48" fmla="*/ 847344 h 963549"/>
              <a:gd name="connsiteX49" fmla="*/ 594932 w 7482459"/>
              <a:gd name="connsiteY49" fmla="*/ 888492 h 963549"/>
              <a:gd name="connsiteX50" fmla="*/ 609124 w 7482459"/>
              <a:gd name="connsiteY50" fmla="*/ 888492 h 963549"/>
              <a:gd name="connsiteX51" fmla="*/ 628460 w 7482459"/>
              <a:gd name="connsiteY51" fmla="*/ 856488 h 963549"/>
              <a:gd name="connsiteX52" fmla="*/ 628460 w 7482459"/>
              <a:gd name="connsiteY52" fmla="*/ 810292 h 963549"/>
              <a:gd name="connsiteX53" fmla="*/ 717899 w 7482459"/>
              <a:gd name="connsiteY53" fmla="*/ 667226 h 963549"/>
              <a:gd name="connsiteX54" fmla="*/ 718566 w 7482459"/>
              <a:gd name="connsiteY54" fmla="*/ 556165 h 963549"/>
              <a:gd name="connsiteX55" fmla="*/ 790956 w 7482459"/>
              <a:gd name="connsiteY55" fmla="*/ 448056 h 963549"/>
              <a:gd name="connsiteX56" fmla="*/ 843725 w 7482459"/>
              <a:gd name="connsiteY56" fmla="*/ 447770 h 963549"/>
              <a:gd name="connsiteX57" fmla="*/ 861060 w 7482459"/>
              <a:gd name="connsiteY57" fmla="*/ 419957 h 963549"/>
              <a:gd name="connsiteX58" fmla="*/ 767239 w 7482459"/>
              <a:gd name="connsiteY58" fmla="*/ 419957 h 963549"/>
              <a:gd name="connsiteX59" fmla="*/ 691229 w 7482459"/>
              <a:gd name="connsiteY59" fmla="*/ 291370 h 963549"/>
              <a:gd name="connsiteX60" fmla="*/ 689229 w 7482459"/>
              <a:gd name="connsiteY60" fmla="*/ 210407 h 963549"/>
              <a:gd name="connsiteX61" fmla="*/ 640271 w 7482459"/>
              <a:gd name="connsiteY61" fmla="*/ 144399 h 963549"/>
              <a:gd name="connsiteX62" fmla="*/ 532352 w 7482459"/>
              <a:gd name="connsiteY62" fmla="*/ 143447 h 963549"/>
              <a:gd name="connsiteX63" fmla="*/ 483108 w 7482459"/>
              <a:gd name="connsiteY63" fmla="*/ 228410 h 963549"/>
              <a:gd name="connsiteX64" fmla="*/ 271082 w 7482459"/>
              <a:gd name="connsiteY64" fmla="*/ 228410 h 963549"/>
              <a:gd name="connsiteX65" fmla="*/ 227743 w 7482459"/>
              <a:gd name="connsiteY65" fmla="*/ 156782 h 963549"/>
              <a:gd name="connsiteX66" fmla="*/ 200216 w 7482459"/>
              <a:gd name="connsiteY66" fmla="*/ 156782 h 963549"/>
              <a:gd name="connsiteX67" fmla="*/ 152019 w 7482459"/>
              <a:gd name="connsiteY67" fmla="*/ 248126 h 963549"/>
              <a:gd name="connsiteX68" fmla="*/ 150781 w 7482459"/>
              <a:gd name="connsiteY68" fmla="*/ 298990 h 963549"/>
              <a:gd name="connsiteX69" fmla="*/ 153638 w 7482459"/>
              <a:gd name="connsiteY69" fmla="*/ 303562 h 963549"/>
              <a:gd name="connsiteX70" fmla="*/ 157353 w 7482459"/>
              <a:gd name="connsiteY70" fmla="*/ 303467 h 963549"/>
              <a:gd name="connsiteX71" fmla="*/ 161068 w 7482459"/>
              <a:gd name="connsiteY71" fmla="*/ 298990 h 963549"/>
              <a:gd name="connsiteX72" fmla="*/ 525304 w 7482459"/>
              <a:gd name="connsiteY72" fmla="*/ 299180 h 963549"/>
              <a:gd name="connsiteX73" fmla="*/ 578739 w 7482459"/>
              <a:gd name="connsiteY73" fmla="*/ 213741 h 963549"/>
              <a:gd name="connsiteX74" fmla="*/ 607314 w 7482459"/>
              <a:gd name="connsiteY74" fmla="*/ 213741 h 963549"/>
              <a:gd name="connsiteX75" fmla="*/ 629317 w 7482459"/>
              <a:gd name="connsiteY75" fmla="*/ 242697 h 963549"/>
              <a:gd name="connsiteX76" fmla="*/ 629317 w 7482459"/>
              <a:gd name="connsiteY76" fmla="*/ 322326 h 963549"/>
              <a:gd name="connsiteX77" fmla="*/ 704945 w 7482459"/>
              <a:gd name="connsiteY77" fmla="*/ 449294 h 963549"/>
              <a:gd name="connsiteX78" fmla="*/ 648938 w 7482459"/>
              <a:gd name="connsiteY78" fmla="*/ 533400 h 963549"/>
              <a:gd name="connsiteX79" fmla="*/ 647510 w 7482459"/>
              <a:gd name="connsiteY79" fmla="*/ 650558 h 963549"/>
              <a:gd name="connsiteX80" fmla="*/ 603409 w 7482459"/>
              <a:gd name="connsiteY80" fmla="*/ 716852 h 963549"/>
              <a:gd name="connsiteX81" fmla="*/ 563404 w 7482459"/>
              <a:gd name="connsiteY81" fmla="*/ 649700 h 963549"/>
              <a:gd name="connsiteX82" fmla="*/ 563404 w 7482459"/>
              <a:gd name="connsiteY82" fmla="*/ 578644 h 963549"/>
              <a:gd name="connsiteX83" fmla="*/ 537496 w 7482459"/>
              <a:gd name="connsiteY83" fmla="*/ 536258 h 963549"/>
              <a:gd name="connsiteX84" fmla="*/ 537496 w 7482459"/>
              <a:gd name="connsiteY84" fmla="*/ 436721 h 963549"/>
              <a:gd name="connsiteX85" fmla="*/ 498824 w 7482459"/>
              <a:gd name="connsiteY85" fmla="*/ 368999 h 963549"/>
              <a:gd name="connsiteX86" fmla="*/ 581120 w 7482459"/>
              <a:gd name="connsiteY86" fmla="*/ 368999 h 963549"/>
              <a:gd name="connsiteX87" fmla="*/ 627698 w 7482459"/>
              <a:gd name="connsiteY87" fmla="*/ 443579 h 963549"/>
              <a:gd name="connsiteX88" fmla="*/ 592550 w 7482459"/>
              <a:gd name="connsiteY88" fmla="*/ 496729 h 963549"/>
              <a:gd name="connsiteX0" fmla="*/ 8451880 w 8451880"/>
              <a:gd name="connsiteY0" fmla="*/ 0 h 963549"/>
              <a:gd name="connsiteX1" fmla="*/ 439579 w 8451880"/>
              <a:gd name="connsiteY1" fmla="*/ 0 h 963549"/>
              <a:gd name="connsiteX2" fmla="*/ 399955 w 8451880"/>
              <a:gd name="connsiteY2" fmla="*/ 72009 h 963549"/>
              <a:gd name="connsiteX3" fmla="*/ 351377 w 8451880"/>
              <a:gd name="connsiteY3" fmla="*/ 72390 h 963549"/>
              <a:gd name="connsiteX4" fmla="*/ 307467 w 8451880"/>
              <a:gd name="connsiteY4" fmla="*/ 0 h 963549"/>
              <a:gd name="connsiteX5" fmla="*/ 118967 w 8451880"/>
              <a:gd name="connsiteY5" fmla="*/ 0 h 963549"/>
              <a:gd name="connsiteX6" fmla="*/ 0 w 8451880"/>
              <a:gd name="connsiteY6" fmla="*/ 199739 h 963549"/>
              <a:gd name="connsiteX7" fmla="*/ 0 w 8451880"/>
              <a:gd name="connsiteY7" fmla="*/ 342138 h 963549"/>
              <a:gd name="connsiteX8" fmla="*/ 78296 w 8451880"/>
              <a:gd name="connsiteY8" fmla="*/ 463772 h 963549"/>
              <a:gd name="connsiteX9" fmla="*/ 204216 w 8451880"/>
              <a:gd name="connsiteY9" fmla="*/ 463772 h 963549"/>
              <a:gd name="connsiteX10" fmla="*/ 219647 w 8451880"/>
              <a:gd name="connsiteY10" fmla="*/ 437007 h 963549"/>
              <a:gd name="connsiteX11" fmla="*/ 381000 w 8451880"/>
              <a:gd name="connsiteY11" fmla="*/ 437007 h 963549"/>
              <a:gd name="connsiteX12" fmla="*/ 399288 w 8451880"/>
              <a:gd name="connsiteY12" fmla="*/ 469773 h 963549"/>
              <a:gd name="connsiteX13" fmla="*/ 399288 w 8451880"/>
              <a:gd name="connsiteY13" fmla="*/ 568071 h 963549"/>
              <a:gd name="connsiteX14" fmla="*/ 434245 w 8451880"/>
              <a:gd name="connsiteY14" fmla="*/ 628841 h 963549"/>
              <a:gd name="connsiteX15" fmla="*/ 434054 w 8451880"/>
              <a:gd name="connsiteY15" fmla="*/ 693325 h 963549"/>
              <a:gd name="connsiteX16" fmla="*/ 492728 w 8451880"/>
              <a:gd name="connsiteY16" fmla="*/ 800005 h 963549"/>
              <a:gd name="connsiteX17" fmla="*/ 492728 w 8451880"/>
              <a:gd name="connsiteY17" fmla="*/ 884873 h 963549"/>
              <a:gd name="connsiteX18" fmla="*/ 559118 w 8451880"/>
              <a:gd name="connsiteY18" fmla="*/ 962978 h 963549"/>
              <a:gd name="connsiteX19" fmla="*/ 645414 w 8451880"/>
              <a:gd name="connsiteY19" fmla="*/ 963549 h 963549"/>
              <a:gd name="connsiteX20" fmla="*/ 688372 w 8451880"/>
              <a:gd name="connsiteY20" fmla="*/ 892112 h 963549"/>
              <a:gd name="connsiteX21" fmla="*/ 688372 w 8451880"/>
              <a:gd name="connsiteY21" fmla="*/ 837914 h 963549"/>
              <a:gd name="connsiteX22" fmla="*/ 784479 w 8451880"/>
              <a:gd name="connsiteY22" fmla="*/ 687229 h 963549"/>
              <a:gd name="connsiteX23" fmla="*/ 784479 w 8451880"/>
              <a:gd name="connsiteY23" fmla="*/ 586169 h 963549"/>
              <a:gd name="connsiteX24" fmla="*/ 831152 w 8451880"/>
              <a:gd name="connsiteY24" fmla="*/ 512636 h 963549"/>
              <a:gd name="connsiteX25" fmla="*/ 886968 w 8451880"/>
              <a:gd name="connsiteY25" fmla="*/ 513207 h 963549"/>
              <a:gd name="connsiteX26" fmla="*/ 979075 w 8451880"/>
              <a:gd name="connsiteY26" fmla="*/ 352139 h 963549"/>
              <a:gd name="connsiteX27" fmla="*/ 809530 w 8451880"/>
              <a:gd name="connsiteY27" fmla="*/ 352139 h 963549"/>
              <a:gd name="connsiteX28" fmla="*/ 761333 w 8451880"/>
              <a:gd name="connsiteY28" fmla="*/ 269367 h 963549"/>
              <a:gd name="connsiteX29" fmla="*/ 761429 w 8451880"/>
              <a:gd name="connsiteY29" fmla="*/ 189357 h 963549"/>
              <a:gd name="connsiteX30" fmla="*/ 681419 w 8451880"/>
              <a:gd name="connsiteY30" fmla="*/ 77438 h 963549"/>
              <a:gd name="connsiteX31" fmla="*/ 655511 w 8451880"/>
              <a:gd name="connsiteY31" fmla="*/ 77438 h 963549"/>
              <a:gd name="connsiteX32" fmla="*/ 487299 w 8451880"/>
              <a:gd name="connsiteY32" fmla="*/ 77438 h 963549"/>
              <a:gd name="connsiteX33" fmla="*/ 443293 w 8451880"/>
              <a:gd name="connsiteY33" fmla="*/ 153448 h 963549"/>
              <a:gd name="connsiteX34" fmla="*/ 316421 w 8451880"/>
              <a:gd name="connsiteY34" fmla="*/ 153448 h 963549"/>
              <a:gd name="connsiteX35" fmla="*/ 265843 w 8451880"/>
              <a:gd name="connsiteY35" fmla="*/ 67056 h 963549"/>
              <a:gd name="connsiteX36" fmla="*/ 159639 w 8451880"/>
              <a:gd name="connsiteY36" fmla="*/ 67056 h 963549"/>
              <a:gd name="connsiteX37" fmla="*/ 71914 w 8451880"/>
              <a:gd name="connsiteY37" fmla="*/ 225457 h 963549"/>
              <a:gd name="connsiteX38" fmla="*/ 71914 w 8451880"/>
              <a:gd name="connsiteY38" fmla="*/ 311753 h 963549"/>
              <a:gd name="connsiteX39" fmla="*/ 121825 w 8451880"/>
              <a:gd name="connsiteY39" fmla="*/ 393192 h 963549"/>
              <a:gd name="connsiteX40" fmla="*/ 160687 w 8451880"/>
              <a:gd name="connsiteY40" fmla="*/ 393192 h 963549"/>
              <a:gd name="connsiteX41" fmla="*/ 173260 w 8451880"/>
              <a:gd name="connsiteY41" fmla="*/ 370332 h 963549"/>
              <a:gd name="connsiteX42" fmla="*/ 416433 w 8451880"/>
              <a:gd name="connsiteY42" fmla="*/ 370332 h 963549"/>
              <a:gd name="connsiteX43" fmla="*/ 465392 w 8451880"/>
              <a:gd name="connsiteY43" fmla="*/ 455676 h 963549"/>
              <a:gd name="connsiteX44" fmla="*/ 465392 w 8451880"/>
              <a:gd name="connsiteY44" fmla="*/ 556736 h 963549"/>
              <a:gd name="connsiteX45" fmla="*/ 500443 w 8451880"/>
              <a:gd name="connsiteY45" fmla="*/ 616839 h 963549"/>
              <a:gd name="connsiteX46" fmla="*/ 500443 w 8451880"/>
              <a:gd name="connsiteY46" fmla="*/ 678275 h 963549"/>
              <a:gd name="connsiteX47" fmla="*/ 563309 w 8451880"/>
              <a:gd name="connsiteY47" fmla="*/ 783527 h 963549"/>
              <a:gd name="connsiteX48" fmla="*/ 563309 w 8451880"/>
              <a:gd name="connsiteY48" fmla="*/ 847344 h 963549"/>
              <a:gd name="connsiteX49" fmla="*/ 594932 w 8451880"/>
              <a:gd name="connsiteY49" fmla="*/ 888492 h 963549"/>
              <a:gd name="connsiteX50" fmla="*/ 609124 w 8451880"/>
              <a:gd name="connsiteY50" fmla="*/ 888492 h 963549"/>
              <a:gd name="connsiteX51" fmla="*/ 628460 w 8451880"/>
              <a:gd name="connsiteY51" fmla="*/ 856488 h 963549"/>
              <a:gd name="connsiteX52" fmla="*/ 628460 w 8451880"/>
              <a:gd name="connsiteY52" fmla="*/ 810292 h 963549"/>
              <a:gd name="connsiteX53" fmla="*/ 717899 w 8451880"/>
              <a:gd name="connsiteY53" fmla="*/ 667226 h 963549"/>
              <a:gd name="connsiteX54" fmla="*/ 718566 w 8451880"/>
              <a:gd name="connsiteY54" fmla="*/ 556165 h 963549"/>
              <a:gd name="connsiteX55" fmla="*/ 790956 w 8451880"/>
              <a:gd name="connsiteY55" fmla="*/ 448056 h 963549"/>
              <a:gd name="connsiteX56" fmla="*/ 843725 w 8451880"/>
              <a:gd name="connsiteY56" fmla="*/ 447770 h 963549"/>
              <a:gd name="connsiteX57" fmla="*/ 861060 w 8451880"/>
              <a:gd name="connsiteY57" fmla="*/ 419957 h 963549"/>
              <a:gd name="connsiteX58" fmla="*/ 767239 w 8451880"/>
              <a:gd name="connsiteY58" fmla="*/ 419957 h 963549"/>
              <a:gd name="connsiteX59" fmla="*/ 691229 w 8451880"/>
              <a:gd name="connsiteY59" fmla="*/ 291370 h 963549"/>
              <a:gd name="connsiteX60" fmla="*/ 689229 w 8451880"/>
              <a:gd name="connsiteY60" fmla="*/ 210407 h 963549"/>
              <a:gd name="connsiteX61" fmla="*/ 640271 w 8451880"/>
              <a:gd name="connsiteY61" fmla="*/ 144399 h 963549"/>
              <a:gd name="connsiteX62" fmla="*/ 532352 w 8451880"/>
              <a:gd name="connsiteY62" fmla="*/ 143447 h 963549"/>
              <a:gd name="connsiteX63" fmla="*/ 483108 w 8451880"/>
              <a:gd name="connsiteY63" fmla="*/ 228410 h 963549"/>
              <a:gd name="connsiteX64" fmla="*/ 271082 w 8451880"/>
              <a:gd name="connsiteY64" fmla="*/ 228410 h 963549"/>
              <a:gd name="connsiteX65" fmla="*/ 227743 w 8451880"/>
              <a:gd name="connsiteY65" fmla="*/ 156782 h 963549"/>
              <a:gd name="connsiteX66" fmla="*/ 200216 w 8451880"/>
              <a:gd name="connsiteY66" fmla="*/ 156782 h 963549"/>
              <a:gd name="connsiteX67" fmla="*/ 152019 w 8451880"/>
              <a:gd name="connsiteY67" fmla="*/ 248126 h 963549"/>
              <a:gd name="connsiteX68" fmla="*/ 150781 w 8451880"/>
              <a:gd name="connsiteY68" fmla="*/ 298990 h 963549"/>
              <a:gd name="connsiteX69" fmla="*/ 153638 w 8451880"/>
              <a:gd name="connsiteY69" fmla="*/ 303562 h 963549"/>
              <a:gd name="connsiteX70" fmla="*/ 157353 w 8451880"/>
              <a:gd name="connsiteY70" fmla="*/ 303467 h 963549"/>
              <a:gd name="connsiteX71" fmla="*/ 161068 w 8451880"/>
              <a:gd name="connsiteY71" fmla="*/ 298990 h 963549"/>
              <a:gd name="connsiteX72" fmla="*/ 525304 w 8451880"/>
              <a:gd name="connsiteY72" fmla="*/ 299180 h 963549"/>
              <a:gd name="connsiteX73" fmla="*/ 578739 w 8451880"/>
              <a:gd name="connsiteY73" fmla="*/ 213741 h 963549"/>
              <a:gd name="connsiteX74" fmla="*/ 607314 w 8451880"/>
              <a:gd name="connsiteY74" fmla="*/ 213741 h 963549"/>
              <a:gd name="connsiteX75" fmla="*/ 629317 w 8451880"/>
              <a:gd name="connsiteY75" fmla="*/ 242697 h 963549"/>
              <a:gd name="connsiteX76" fmla="*/ 629317 w 8451880"/>
              <a:gd name="connsiteY76" fmla="*/ 322326 h 963549"/>
              <a:gd name="connsiteX77" fmla="*/ 704945 w 8451880"/>
              <a:gd name="connsiteY77" fmla="*/ 449294 h 963549"/>
              <a:gd name="connsiteX78" fmla="*/ 648938 w 8451880"/>
              <a:gd name="connsiteY78" fmla="*/ 533400 h 963549"/>
              <a:gd name="connsiteX79" fmla="*/ 647510 w 8451880"/>
              <a:gd name="connsiteY79" fmla="*/ 650558 h 963549"/>
              <a:gd name="connsiteX80" fmla="*/ 603409 w 8451880"/>
              <a:gd name="connsiteY80" fmla="*/ 716852 h 963549"/>
              <a:gd name="connsiteX81" fmla="*/ 563404 w 8451880"/>
              <a:gd name="connsiteY81" fmla="*/ 649700 h 963549"/>
              <a:gd name="connsiteX82" fmla="*/ 563404 w 8451880"/>
              <a:gd name="connsiteY82" fmla="*/ 578644 h 963549"/>
              <a:gd name="connsiteX83" fmla="*/ 537496 w 8451880"/>
              <a:gd name="connsiteY83" fmla="*/ 536258 h 963549"/>
              <a:gd name="connsiteX84" fmla="*/ 537496 w 8451880"/>
              <a:gd name="connsiteY84" fmla="*/ 436721 h 963549"/>
              <a:gd name="connsiteX85" fmla="*/ 498824 w 8451880"/>
              <a:gd name="connsiteY85" fmla="*/ 368999 h 963549"/>
              <a:gd name="connsiteX86" fmla="*/ 581120 w 8451880"/>
              <a:gd name="connsiteY86" fmla="*/ 368999 h 963549"/>
              <a:gd name="connsiteX87" fmla="*/ 627698 w 8451880"/>
              <a:gd name="connsiteY87" fmla="*/ 443579 h 963549"/>
              <a:gd name="connsiteX88" fmla="*/ 592550 w 8451880"/>
              <a:gd name="connsiteY88" fmla="*/ 496729 h 963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8451880" h="963549">
                <a:moveTo>
                  <a:pt x="8451880" y="0"/>
                </a:moveTo>
                <a:lnTo>
                  <a:pt x="439579" y="0"/>
                </a:lnTo>
                <a:lnTo>
                  <a:pt x="399955" y="72009"/>
                </a:lnTo>
                <a:lnTo>
                  <a:pt x="351377" y="72390"/>
                </a:lnTo>
                <a:lnTo>
                  <a:pt x="307467" y="0"/>
                </a:lnTo>
                <a:lnTo>
                  <a:pt x="118967" y="0"/>
                </a:lnTo>
                <a:lnTo>
                  <a:pt x="0" y="199739"/>
                </a:lnTo>
                <a:lnTo>
                  <a:pt x="0" y="342138"/>
                </a:lnTo>
                <a:lnTo>
                  <a:pt x="78296" y="463772"/>
                </a:lnTo>
                <a:lnTo>
                  <a:pt x="204216" y="463772"/>
                </a:lnTo>
                <a:lnTo>
                  <a:pt x="219647" y="437007"/>
                </a:lnTo>
                <a:lnTo>
                  <a:pt x="381000" y="437007"/>
                </a:lnTo>
                <a:lnTo>
                  <a:pt x="399288" y="469773"/>
                </a:lnTo>
                <a:lnTo>
                  <a:pt x="399288" y="568071"/>
                </a:lnTo>
                <a:lnTo>
                  <a:pt x="434245" y="628841"/>
                </a:lnTo>
                <a:cubicBezTo>
                  <a:pt x="434181" y="650336"/>
                  <a:pt x="434118" y="671830"/>
                  <a:pt x="434054" y="693325"/>
                </a:cubicBezTo>
                <a:lnTo>
                  <a:pt x="492728" y="800005"/>
                </a:lnTo>
                <a:lnTo>
                  <a:pt x="492728" y="884873"/>
                </a:lnTo>
                <a:lnTo>
                  <a:pt x="559118" y="962978"/>
                </a:lnTo>
                <a:lnTo>
                  <a:pt x="645414" y="963549"/>
                </a:lnTo>
                <a:lnTo>
                  <a:pt x="688372" y="892112"/>
                </a:lnTo>
                <a:lnTo>
                  <a:pt x="688372" y="837914"/>
                </a:lnTo>
                <a:lnTo>
                  <a:pt x="784479" y="687229"/>
                </a:lnTo>
                <a:lnTo>
                  <a:pt x="784479" y="586169"/>
                </a:lnTo>
                <a:lnTo>
                  <a:pt x="831152" y="512636"/>
                </a:lnTo>
                <a:lnTo>
                  <a:pt x="886968" y="513207"/>
                </a:lnTo>
                <a:lnTo>
                  <a:pt x="979075" y="352139"/>
                </a:lnTo>
                <a:lnTo>
                  <a:pt x="809530" y="352139"/>
                </a:lnTo>
                <a:lnTo>
                  <a:pt x="761333" y="269367"/>
                </a:lnTo>
                <a:lnTo>
                  <a:pt x="761429" y="189357"/>
                </a:lnTo>
                <a:lnTo>
                  <a:pt x="681419" y="77438"/>
                </a:lnTo>
                <a:lnTo>
                  <a:pt x="655511" y="77438"/>
                </a:lnTo>
                <a:lnTo>
                  <a:pt x="487299" y="77438"/>
                </a:lnTo>
                <a:lnTo>
                  <a:pt x="443293" y="153448"/>
                </a:lnTo>
                <a:lnTo>
                  <a:pt x="316421" y="153448"/>
                </a:lnTo>
                <a:lnTo>
                  <a:pt x="265843" y="67056"/>
                </a:lnTo>
                <a:lnTo>
                  <a:pt x="159639" y="67056"/>
                </a:lnTo>
                <a:lnTo>
                  <a:pt x="71914" y="225457"/>
                </a:lnTo>
                <a:lnTo>
                  <a:pt x="71914" y="311753"/>
                </a:lnTo>
                <a:lnTo>
                  <a:pt x="121825" y="393192"/>
                </a:lnTo>
                <a:lnTo>
                  <a:pt x="160687" y="393192"/>
                </a:lnTo>
                <a:lnTo>
                  <a:pt x="173260" y="370332"/>
                </a:lnTo>
                <a:lnTo>
                  <a:pt x="416433" y="370332"/>
                </a:lnTo>
                <a:lnTo>
                  <a:pt x="465392" y="455676"/>
                </a:lnTo>
                <a:lnTo>
                  <a:pt x="465392" y="556736"/>
                </a:lnTo>
                <a:lnTo>
                  <a:pt x="500443" y="616839"/>
                </a:lnTo>
                <a:lnTo>
                  <a:pt x="500443" y="678275"/>
                </a:lnTo>
                <a:lnTo>
                  <a:pt x="563309" y="783527"/>
                </a:lnTo>
                <a:lnTo>
                  <a:pt x="563309" y="847344"/>
                </a:lnTo>
                <a:lnTo>
                  <a:pt x="594932" y="888492"/>
                </a:lnTo>
                <a:lnTo>
                  <a:pt x="609124" y="888492"/>
                </a:lnTo>
                <a:lnTo>
                  <a:pt x="628460" y="856488"/>
                </a:lnTo>
                <a:lnTo>
                  <a:pt x="628460" y="810292"/>
                </a:lnTo>
                <a:lnTo>
                  <a:pt x="717899" y="667226"/>
                </a:lnTo>
                <a:cubicBezTo>
                  <a:pt x="718121" y="630206"/>
                  <a:pt x="718344" y="593185"/>
                  <a:pt x="718566" y="556165"/>
                </a:cubicBezTo>
                <a:lnTo>
                  <a:pt x="790956" y="448056"/>
                </a:lnTo>
                <a:lnTo>
                  <a:pt x="843725" y="447770"/>
                </a:lnTo>
                <a:lnTo>
                  <a:pt x="861060" y="419957"/>
                </a:lnTo>
                <a:lnTo>
                  <a:pt x="767239" y="419957"/>
                </a:lnTo>
                <a:lnTo>
                  <a:pt x="691229" y="291370"/>
                </a:lnTo>
                <a:cubicBezTo>
                  <a:pt x="690562" y="264382"/>
                  <a:pt x="689896" y="237395"/>
                  <a:pt x="689229" y="210407"/>
                </a:cubicBezTo>
                <a:lnTo>
                  <a:pt x="640271" y="144399"/>
                </a:lnTo>
                <a:lnTo>
                  <a:pt x="532352" y="143447"/>
                </a:lnTo>
                <a:lnTo>
                  <a:pt x="483108" y="228410"/>
                </a:lnTo>
                <a:lnTo>
                  <a:pt x="271082" y="228410"/>
                </a:lnTo>
                <a:lnTo>
                  <a:pt x="227743" y="156782"/>
                </a:lnTo>
                <a:lnTo>
                  <a:pt x="200216" y="156782"/>
                </a:lnTo>
                <a:lnTo>
                  <a:pt x="152019" y="248126"/>
                </a:lnTo>
                <a:cubicBezTo>
                  <a:pt x="151606" y="265081"/>
                  <a:pt x="151194" y="282035"/>
                  <a:pt x="150781" y="298990"/>
                </a:cubicBezTo>
                <a:lnTo>
                  <a:pt x="153638" y="303562"/>
                </a:lnTo>
                <a:lnTo>
                  <a:pt x="157353" y="303467"/>
                </a:lnTo>
                <a:lnTo>
                  <a:pt x="161068" y="298990"/>
                </a:lnTo>
                <a:lnTo>
                  <a:pt x="525304" y="299180"/>
                </a:lnTo>
                <a:lnTo>
                  <a:pt x="578739" y="213741"/>
                </a:lnTo>
                <a:lnTo>
                  <a:pt x="607314" y="213741"/>
                </a:lnTo>
                <a:lnTo>
                  <a:pt x="629317" y="242697"/>
                </a:lnTo>
                <a:lnTo>
                  <a:pt x="629317" y="322326"/>
                </a:lnTo>
                <a:lnTo>
                  <a:pt x="704945" y="449294"/>
                </a:lnTo>
                <a:lnTo>
                  <a:pt x="648938" y="533400"/>
                </a:lnTo>
                <a:lnTo>
                  <a:pt x="647510" y="650558"/>
                </a:lnTo>
                <a:lnTo>
                  <a:pt x="603409" y="716852"/>
                </a:lnTo>
                <a:lnTo>
                  <a:pt x="563404" y="649700"/>
                </a:lnTo>
                <a:lnTo>
                  <a:pt x="563404" y="578644"/>
                </a:lnTo>
                <a:lnTo>
                  <a:pt x="537496" y="536258"/>
                </a:lnTo>
                <a:lnTo>
                  <a:pt x="537496" y="436721"/>
                </a:lnTo>
                <a:lnTo>
                  <a:pt x="498824" y="368999"/>
                </a:lnTo>
                <a:lnTo>
                  <a:pt x="581120" y="368999"/>
                </a:lnTo>
                <a:lnTo>
                  <a:pt x="627698" y="443579"/>
                </a:lnTo>
                <a:lnTo>
                  <a:pt x="592550" y="496729"/>
                </a:lnTo>
              </a:path>
            </a:pathLst>
          </a:custGeom>
          <a:noFill/>
          <a:ln w="7144" cap="flat">
            <a:solidFill>
              <a:srgbClr val="E63C2B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15634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C4A12B0-5BA2-5100-AAD4-E12E3C1737AF}"/>
              </a:ext>
            </a:extLst>
          </p:cNvPr>
          <p:cNvSpPr/>
          <p:nvPr userDrawn="1"/>
        </p:nvSpPr>
        <p:spPr>
          <a:xfrm>
            <a:off x="0" y="0"/>
            <a:ext cx="12192001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29B7C479-2D3F-2960-139A-D5BB63A41E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82543" y="-1"/>
            <a:ext cx="4909457" cy="6858257"/>
          </a:xfrm>
          <a:custGeom>
            <a:avLst/>
            <a:gdLst>
              <a:gd name="connsiteX0" fmla="*/ 0 w 4401300"/>
              <a:gd name="connsiteY0" fmla="*/ 0 h 6148388"/>
              <a:gd name="connsiteX1" fmla="*/ 4401300 w 4401300"/>
              <a:gd name="connsiteY1" fmla="*/ 0 h 6148388"/>
              <a:gd name="connsiteX2" fmla="*/ 4401300 w 4401300"/>
              <a:gd name="connsiteY2" fmla="*/ 6148388 h 6148388"/>
              <a:gd name="connsiteX3" fmla="*/ 3799566 w 4401300"/>
              <a:gd name="connsiteY3" fmla="*/ 6148388 h 614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01300" h="6148388">
                <a:moveTo>
                  <a:pt x="0" y="0"/>
                </a:moveTo>
                <a:lnTo>
                  <a:pt x="4401300" y="0"/>
                </a:lnTo>
                <a:lnTo>
                  <a:pt x="4401300" y="6148388"/>
                </a:lnTo>
                <a:lnTo>
                  <a:pt x="3799566" y="6148388"/>
                </a:lnTo>
                <a:close/>
              </a:path>
            </a:pathLst>
          </a:cu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FD2AA106-02DD-9456-5F7D-D1D25492CDB8}"/>
              </a:ext>
            </a:extLst>
          </p:cNvPr>
          <p:cNvSpPr/>
          <p:nvPr userDrawn="1"/>
        </p:nvSpPr>
        <p:spPr>
          <a:xfrm>
            <a:off x="11521842" y="6474757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5D950A5-2828-221A-996F-175C05E4BB43}"/>
              </a:ext>
            </a:extLst>
          </p:cNvPr>
          <p:cNvSpPr/>
          <p:nvPr userDrawn="1"/>
        </p:nvSpPr>
        <p:spPr>
          <a:xfrm>
            <a:off x="11588593" y="65348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 dirty="0">
              <a:solidFill>
                <a:schemeClr val="bg1"/>
              </a:solidFill>
              <a:latin typeface="Tahoma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470FF30-5A43-9A43-5905-5F595AC73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795" y="2844800"/>
            <a:ext cx="6212351" cy="4101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65" name="Text Placeholder 13">
            <a:extLst>
              <a:ext uri="{FF2B5EF4-FFF2-40B4-BE49-F238E27FC236}">
                <a16:creationId xmlns:a16="http://schemas.microsoft.com/office/drawing/2014/main" id="{0A8EDC15-9113-2840-B13A-8731DFA92A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3795" y="3548530"/>
            <a:ext cx="5889053" cy="410136"/>
          </a:xfrm>
          <a:prstGeom prst="rect">
            <a:avLst/>
          </a:prstGeom>
        </p:spPr>
        <p:txBody>
          <a:bodyPr wrap="none"/>
          <a:lstStyle>
            <a:lvl1pPr>
              <a:defRPr sz="16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</p:spTree>
    <p:extLst>
      <p:ext uri="{BB962C8B-B14F-4D97-AF65-F5344CB8AC3E}">
        <p14:creationId xmlns:p14="http://schemas.microsoft.com/office/powerpoint/2010/main" val="13872041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pic>
        <p:nvPicPr>
          <p:cNvPr id="10" name="Picture 9" descr="A green train on a track&#10;&#10;Description automatically generated">
            <a:extLst>
              <a:ext uri="{FF2B5EF4-FFF2-40B4-BE49-F238E27FC236}">
                <a16:creationId xmlns:a16="http://schemas.microsoft.com/office/drawing/2014/main" id="{632EF9B6-B7F2-5B68-A22D-54C283B3FF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5156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2D027E8-2D4E-9357-81F5-234479FBBA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3634" y="528118"/>
            <a:ext cx="5907785" cy="3522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F0BAC52-79D1-6BFD-F36B-C7F59E7AB7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8755" y="1778000"/>
            <a:ext cx="42037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8657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370647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60872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921209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E1EFCF2-014A-C6FC-8AA7-CCC868BA8A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158786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271401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2D027E8-2D4E-9357-81F5-234479FBBA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5" y="845445"/>
            <a:ext cx="10079724" cy="3522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1F9625-3BD0-8CEF-BB6E-C2D380C404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3474" y="1778000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8657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370647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60872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921209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CFE821C-A126-325A-A5F7-2E8FCBEC6A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0000" y="1778000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8657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370647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60872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921209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77C89CF-65C0-65A1-9053-1E5547FD1A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6526" y="1778000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8657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370647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60872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921209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10E32AF-ABB5-810B-6647-AA7A03E11C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70561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CE057FC0-0CF3-598B-7894-CC63D03D9B7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10100" y="1777883"/>
            <a:ext cx="7581900" cy="3902075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1CA1FCD-EF11-F77D-A3FA-03915A1E75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7951" y="2466814"/>
            <a:ext cx="4139578" cy="3213144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00000"/>
              </a:lnSpc>
              <a:spcBef>
                <a:spcPts val="56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1800"/>
              <a:t>Normal text here and here and here and here</a:t>
            </a:r>
            <a:endParaRPr lang="en-GB" sz="2400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7ADA2A2-B019-3E85-7EB4-24AC52AC21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792" y="1776016"/>
            <a:ext cx="4139578" cy="690797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E2CF7-1553-356D-C0BE-FEE5FC3377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262597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031-043D-4150-8D51-38680CAB1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436" y="1061440"/>
            <a:ext cx="10822684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C6647BB-83A6-68CE-A0DA-BA6CBD6AE7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1435" y="2112087"/>
            <a:ext cx="10822684" cy="2361671"/>
          </a:xfrm>
          <a:prstGeom prst="rect">
            <a:avLst/>
          </a:prstGeom>
        </p:spPr>
        <p:txBody>
          <a:bodyPr/>
          <a:lstStyle>
            <a:lvl1pPr marL="7521" marR="361381" indent="-189904" algn="ctr">
              <a:lnSpc>
                <a:spcPct val="165300"/>
              </a:lnSpc>
              <a:spcBef>
                <a:spcPts val="56"/>
              </a:spcBef>
              <a:buNone/>
              <a:defRPr sz="20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/>
              <a:t>Lorem ipsum dolor sit </a:t>
            </a:r>
            <a:r>
              <a:rPr lang="en-US" sz="2400" err="1"/>
              <a:t>amet</a:t>
            </a:r>
            <a:r>
              <a:rPr lang="en-US" sz="2400"/>
              <a:t>, </a:t>
            </a:r>
            <a:r>
              <a:rPr lang="en-US" sz="2400" err="1"/>
              <a:t>consectetuer</a:t>
            </a:r>
            <a:r>
              <a:rPr lang="en-US" sz="2400"/>
              <a:t> </a:t>
            </a:r>
            <a:r>
              <a:rPr lang="en-US" sz="2400" err="1"/>
              <a:t>adipiscing</a:t>
            </a:r>
            <a:r>
              <a:rPr lang="en-US" sz="2400"/>
              <a:t> </a:t>
            </a:r>
            <a:r>
              <a:rPr lang="en-US" sz="2400" err="1"/>
              <a:t>elit</a:t>
            </a:r>
            <a:r>
              <a:rPr lang="en-US" sz="2400"/>
              <a:t>, sed diam </a:t>
            </a:r>
            <a:r>
              <a:rPr lang="en-US" sz="2400" err="1"/>
              <a:t>nonummy</a:t>
            </a:r>
            <a:r>
              <a:rPr lang="en-US" sz="2400"/>
              <a:t> </a:t>
            </a:r>
            <a:r>
              <a:rPr lang="en-US" sz="2400" err="1"/>
              <a:t>nibh</a:t>
            </a:r>
            <a:r>
              <a:rPr lang="en-US" sz="2400"/>
              <a:t> </a:t>
            </a:r>
            <a:r>
              <a:rPr lang="en-US" sz="2400" err="1"/>
              <a:t>euismod</a:t>
            </a:r>
            <a:r>
              <a:rPr lang="en-US" sz="2400"/>
              <a:t> </a:t>
            </a:r>
            <a:r>
              <a:rPr lang="en-US" sz="2400" err="1"/>
              <a:t>tincidunt</a:t>
            </a:r>
            <a:r>
              <a:rPr lang="en-US" sz="2400"/>
              <a:t> </a:t>
            </a:r>
            <a:r>
              <a:rPr lang="en-US" sz="2400" err="1"/>
              <a:t>ut</a:t>
            </a:r>
            <a:r>
              <a:rPr lang="en-US" sz="2400"/>
              <a:t> </a:t>
            </a:r>
            <a:r>
              <a:rPr lang="en-US" sz="2400" err="1"/>
              <a:t>laoreet</a:t>
            </a:r>
            <a:r>
              <a:rPr lang="en-US" sz="2400"/>
              <a:t> dolore magna </a:t>
            </a:r>
            <a:r>
              <a:rPr lang="en-US" sz="2400" err="1"/>
              <a:t>aliquam</a:t>
            </a:r>
            <a:r>
              <a:rPr lang="en-US" sz="2400"/>
              <a:t> </a:t>
            </a:r>
            <a:r>
              <a:rPr lang="en-US" sz="2400" err="1"/>
              <a:t>erat</a:t>
            </a:r>
            <a:r>
              <a:rPr lang="en-US" sz="2400"/>
              <a:t> </a:t>
            </a:r>
            <a:r>
              <a:rPr lang="en-US" sz="2400" err="1"/>
              <a:t>volutpat</a:t>
            </a:r>
            <a:r>
              <a:rPr lang="en-US" sz="2400"/>
              <a:t>. Ut </a:t>
            </a:r>
            <a:r>
              <a:rPr lang="en-US" sz="2400" err="1"/>
              <a:t>wisi</a:t>
            </a:r>
            <a:r>
              <a:rPr lang="en-US" sz="2400"/>
              <a:t> </a:t>
            </a:r>
            <a:r>
              <a:rPr lang="en-US" sz="2400" err="1"/>
              <a:t>enim</a:t>
            </a:r>
            <a:r>
              <a:rPr lang="en-US" sz="2400"/>
              <a:t> ad minim </a:t>
            </a:r>
            <a:r>
              <a:rPr lang="en-US" sz="2400" err="1"/>
              <a:t>veniam</a:t>
            </a:r>
            <a:r>
              <a:rPr lang="en-US" sz="2400"/>
              <a:t>, </a:t>
            </a:r>
            <a:r>
              <a:rPr lang="en-US" sz="2400" err="1"/>
              <a:t>quis</a:t>
            </a:r>
            <a:r>
              <a:rPr lang="en-US" sz="2400"/>
              <a:t> </a:t>
            </a:r>
            <a:r>
              <a:rPr lang="en-US" sz="2400" err="1"/>
              <a:t>nostrud</a:t>
            </a:r>
            <a:r>
              <a:rPr lang="en-US" sz="2400"/>
              <a:t> </a:t>
            </a:r>
            <a:r>
              <a:rPr lang="en-US" sz="2400" err="1"/>
              <a:t>exerci</a:t>
            </a:r>
            <a:r>
              <a:rPr lang="en-US" sz="2400"/>
              <a:t> </a:t>
            </a:r>
            <a:r>
              <a:rPr lang="en-US" sz="2400" err="1"/>
              <a:t>tation</a:t>
            </a:r>
            <a:r>
              <a:rPr lang="en-US" sz="2400"/>
              <a:t> </a:t>
            </a:r>
            <a:r>
              <a:rPr lang="en-US" sz="2400" err="1"/>
              <a:t>ullamcorper</a:t>
            </a:r>
            <a:r>
              <a:rPr lang="en-US" sz="2400"/>
              <a:t> </a:t>
            </a:r>
            <a:r>
              <a:rPr lang="en-US" sz="2400" err="1"/>
              <a:t>suscipit</a:t>
            </a:r>
            <a:r>
              <a:rPr lang="en-US" sz="2400"/>
              <a:t> </a:t>
            </a:r>
            <a:r>
              <a:rPr lang="en-US" sz="2400" err="1"/>
              <a:t>lobortis</a:t>
            </a:r>
            <a:r>
              <a:rPr lang="en-US" sz="2400"/>
              <a:t> </a:t>
            </a:r>
            <a:r>
              <a:rPr lang="en-US" sz="2400" err="1"/>
              <a:t>nisl</a:t>
            </a:r>
            <a:r>
              <a:rPr lang="en-US" sz="2400"/>
              <a:t> </a:t>
            </a:r>
            <a:r>
              <a:rPr lang="en-US" sz="2400" err="1"/>
              <a:t>ut</a:t>
            </a:r>
            <a:r>
              <a:rPr lang="en-US" sz="2400"/>
              <a:t> </a:t>
            </a:r>
            <a:r>
              <a:rPr lang="en-US" sz="2400" err="1"/>
              <a:t>aliquip</a:t>
            </a:r>
            <a:r>
              <a:rPr lang="en-US" sz="2400"/>
              <a:t> ex </a:t>
            </a:r>
            <a:r>
              <a:rPr lang="en-US" sz="2400" err="1"/>
              <a:t>ea</a:t>
            </a:r>
            <a:r>
              <a:rPr lang="en-US" sz="2400"/>
              <a:t> </a:t>
            </a:r>
            <a:r>
              <a:rPr lang="en-US" sz="2400" err="1"/>
              <a:t>commodo</a:t>
            </a:r>
            <a:r>
              <a:rPr lang="en-US" sz="2400"/>
              <a:t> </a:t>
            </a:r>
            <a:r>
              <a:rPr lang="en-US" sz="2400" err="1"/>
              <a:t>consequat</a:t>
            </a:r>
            <a:r>
              <a:rPr lang="en-US" sz="2400"/>
              <a:t>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BA122D4-C660-4B51-E621-0749C8299F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96657" y="4689172"/>
            <a:ext cx="1763624" cy="23852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>
              <a:defRPr sz="900" b="0" i="1">
                <a:solidFill>
                  <a:srgbClr val="66594C"/>
                </a:solidFill>
                <a:latin typeface="Apex New Medium Italic" panose="02010600040501010103" pitchFamily="2" charset="77"/>
                <a:ea typeface="Apex New Medium Italic" panose="02010600040501010103" pitchFamily="2" charset="77"/>
              </a:defRPr>
            </a:lvl1pPr>
          </a:lstStyle>
          <a:p>
            <a:pPr lvl="0"/>
            <a:r>
              <a:rPr lang="en-GB"/>
              <a:t>Click to edit master text styles.  </a:t>
            </a:r>
          </a:p>
        </p:txBody>
      </p:sp>
    </p:spTree>
    <p:extLst>
      <p:ext uri="{BB962C8B-B14F-4D97-AF65-F5344CB8AC3E}">
        <p14:creationId xmlns:p14="http://schemas.microsoft.com/office/powerpoint/2010/main" val="254147023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4E62448-174A-A466-FFFC-726AD16245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7820E3CC-DF6C-09AC-D76A-4F15CB3254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5" y="831283"/>
            <a:ext cx="5889053" cy="410136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</p:spTree>
    <p:extLst>
      <p:ext uri="{BB962C8B-B14F-4D97-AF65-F5344CB8AC3E}">
        <p14:creationId xmlns:p14="http://schemas.microsoft.com/office/powerpoint/2010/main" val="4245744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614205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5037CE3-375D-2BB2-1C58-73F4A24152B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9356F0B1-A2E8-1558-F23B-6FD74C52E4B8}"/>
              </a:ext>
            </a:extLst>
          </p:cNvPr>
          <p:cNvSpPr/>
          <p:nvPr userDrawn="1"/>
        </p:nvSpPr>
        <p:spPr>
          <a:xfrm>
            <a:off x="11521842" y="6474757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325288-7D19-894A-52D8-9A820BF0B847}"/>
              </a:ext>
            </a:extLst>
          </p:cNvPr>
          <p:cNvSpPr/>
          <p:nvPr userDrawn="1"/>
        </p:nvSpPr>
        <p:spPr>
          <a:xfrm>
            <a:off x="11588593" y="65348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 dirty="0">
              <a:solidFill>
                <a:schemeClr val="bg1"/>
              </a:solidFill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1576742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5037CE3-375D-2BB2-1C58-73F4A24152BA}"/>
              </a:ext>
            </a:extLst>
          </p:cNvPr>
          <p:cNvSpPr/>
          <p:nvPr userDrawn="1"/>
        </p:nvSpPr>
        <p:spPr>
          <a:xfrm>
            <a:off x="0" y="0"/>
            <a:ext cx="12192000" cy="603754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97385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2C836E-8504-4147-B4E7-EDCA7D62FA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6EDF97-7571-4D53-A80A-F1469F76B0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26FAAF-67F0-4978-B144-BDAD392A13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29572-E168-4503-A7CC-445746516949}" type="datetimeFigureOut">
              <a:rPr lang="en-US" smtClean="0"/>
              <a:t>3/12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253521-DD9C-4FB7-9EF9-1B03DD244A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2A44F4-98BD-421D-A598-2408B796D9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5C9A1-A6C3-4EF0-A272-2996A975774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93152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031-043D-4150-8D51-38680CAB1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CUSTOM SLID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64612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A49168BD-AB6E-E377-7CEA-0E7694373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8551" y="1078100"/>
            <a:ext cx="5071263" cy="258532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4970" y="395211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2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64405414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Graph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Titles PAGE2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1" y="0"/>
            <a:ext cx="12188249" cy="6858000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696976" y="6527033"/>
            <a:ext cx="1077350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1204" y="453073"/>
            <a:ext cx="10238214" cy="0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182508" y="71120"/>
            <a:ext cx="1688123" cy="64770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587329" y="6616442"/>
            <a:ext cx="518069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US" sz="1200" b="0" i="0" u="none" strike="noStrike" kern="1200" baseline="30000" dirty="0">
                <a:solidFill>
                  <a:srgbClr val="E6292B"/>
                </a:solidFill>
                <a:latin typeface="ApexSans-Book"/>
                <a:ea typeface="ＭＳ Ｐゴシック" charset="0"/>
                <a:cs typeface="ApexSans-Book"/>
              </a:rPr>
              <a:t>Results Announcement </a:t>
            </a:r>
            <a:r>
              <a:rPr lang="en-US" sz="1200" b="0" i="0" u="none" strike="noStrike" kern="1200" baseline="30000" dirty="0">
                <a:solidFill>
                  <a:srgbClr val="E6292B"/>
                </a:solidFill>
                <a:latin typeface="ApexSans-Bold"/>
                <a:ea typeface="ＭＳ Ｐゴシック" charset="0"/>
                <a:cs typeface="ApexSans-Bold"/>
              </a:rPr>
              <a:t>2016</a:t>
            </a:r>
          </a:p>
        </p:txBody>
      </p:sp>
    </p:spTree>
    <p:extLst>
      <p:ext uri="{BB962C8B-B14F-4D97-AF65-F5344CB8AC3E}">
        <p14:creationId xmlns:p14="http://schemas.microsoft.com/office/powerpoint/2010/main" val="14931030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 descr="Colourful cargo containers stacked with a worker standing">
            <a:extLst>
              <a:ext uri="{FF2B5EF4-FFF2-40B4-BE49-F238E27FC236}">
                <a16:creationId xmlns:a16="http://schemas.microsoft.com/office/drawing/2014/main" id="{77320EED-BBCB-8B40-2FBE-A4CA2CA7D0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8070249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Train tracks with train cars on each side&#10;&#10;Description automatically generated">
            <a:extLst>
              <a:ext uri="{FF2B5EF4-FFF2-40B4-BE49-F238E27FC236}">
                <a16:creationId xmlns:a16="http://schemas.microsoft.com/office/drawing/2014/main" id="{2ED9AAEA-3731-AD3D-0F78-72016945F3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271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4614" y="1239087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85615" y="3772254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8270678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yellow pipes on a building&#10;&#10;Description automatically generated with medium confidence">
            <a:extLst>
              <a:ext uri="{FF2B5EF4-FFF2-40B4-BE49-F238E27FC236}">
                <a16:creationId xmlns:a16="http://schemas.microsoft.com/office/drawing/2014/main" id="{9EB74ED6-8907-4B51-479C-FDD3F66E7F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5483263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 descr="Top view of a wooden desk with a white keyboard, drawing plan and drawing compass, and pens.">
            <a:extLst>
              <a:ext uri="{FF2B5EF4-FFF2-40B4-BE49-F238E27FC236}">
                <a16:creationId xmlns:a16="http://schemas.microsoft.com/office/drawing/2014/main" id="{A49168BD-AB6E-E377-7CEA-0E7694373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0661925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755" y="4945338"/>
            <a:ext cx="6543458" cy="615553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DF6E4E97-1E5E-6DDC-51DB-51A4B672C7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8757" y="5572294"/>
            <a:ext cx="5032147" cy="484025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2836779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3994C55-28DA-03C2-35BC-75F5D854F08B}"/>
              </a:ext>
            </a:extLst>
          </p:cNvPr>
          <p:cNvSpPr/>
          <p:nvPr userDrawn="1"/>
        </p:nvSpPr>
        <p:spPr>
          <a:xfrm>
            <a:off x="0" y="0"/>
            <a:ext cx="12192001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E6505-1432-E7D8-FDE1-5E4383D36C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82543" y="-1"/>
            <a:ext cx="4909457" cy="6858257"/>
          </a:xfrm>
          <a:custGeom>
            <a:avLst/>
            <a:gdLst>
              <a:gd name="connsiteX0" fmla="*/ 0 w 4401300"/>
              <a:gd name="connsiteY0" fmla="*/ 0 h 6148388"/>
              <a:gd name="connsiteX1" fmla="*/ 4401300 w 4401300"/>
              <a:gd name="connsiteY1" fmla="*/ 0 h 6148388"/>
              <a:gd name="connsiteX2" fmla="*/ 4401300 w 4401300"/>
              <a:gd name="connsiteY2" fmla="*/ 6148388 h 6148388"/>
              <a:gd name="connsiteX3" fmla="*/ 3799566 w 4401300"/>
              <a:gd name="connsiteY3" fmla="*/ 6148388 h 614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01300" h="6148388">
                <a:moveTo>
                  <a:pt x="0" y="0"/>
                </a:moveTo>
                <a:lnTo>
                  <a:pt x="4401300" y="0"/>
                </a:lnTo>
                <a:lnTo>
                  <a:pt x="4401300" y="6148388"/>
                </a:lnTo>
                <a:lnTo>
                  <a:pt x="3799566" y="6148388"/>
                </a:lnTo>
                <a:close/>
              </a:path>
            </a:pathLst>
          </a:cu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615020BA-0B93-180E-3093-EAC3BCC73B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4" y="517638"/>
            <a:ext cx="5889053" cy="410136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8CE118E7-1BAE-2BED-BA49-7E01CC506DEF}"/>
              </a:ext>
            </a:extLst>
          </p:cNvPr>
          <p:cNvSpPr/>
          <p:nvPr userDrawn="1"/>
        </p:nvSpPr>
        <p:spPr>
          <a:xfrm>
            <a:off x="11521842" y="6474757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2C509C7-F64D-8D3C-E43B-BAD58331BD3D}"/>
              </a:ext>
            </a:extLst>
          </p:cNvPr>
          <p:cNvSpPr/>
          <p:nvPr userDrawn="1"/>
        </p:nvSpPr>
        <p:spPr>
          <a:xfrm>
            <a:off x="11588593" y="65348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>
              <a:solidFill>
                <a:schemeClr val="bg1"/>
              </a:solidFill>
              <a:latin typeface="Tahoma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9A9D43-FF02-9C81-1CFC-D9B244C575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152400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6" name="Graphic 64">
            <a:extLst>
              <a:ext uri="{FF2B5EF4-FFF2-40B4-BE49-F238E27FC236}">
                <a16:creationId xmlns:a16="http://schemas.microsoft.com/office/drawing/2014/main" id="{410252B1-98B5-8714-70E8-11601AFBFE16}"/>
              </a:ext>
            </a:extLst>
          </p:cNvPr>
          <p:cNvSpPr/>
          <p:nvPr userDrawn="1"/>
        </p:nvSpPr>
        <p:spPr>
          <a:xfrm>
            <a:off x="209511" y="923680"/>
            <a:ext cx="10009519" cy="1141126"/>
          </a:xfrm>
          <a:custGeom>
            <a:avLst/>
            <a:gdLst>
              <a:gd name="connsiteX0" fmla="*/ 7482459 w 7482459"/>
              <a:gd name="connsiteY0" fmla="*/ 0 h 963549"/>
              <a:gd name="connsiteX1" fmla="*/ 439579 w 7482459"/>
              <a:gd name="connsiteY1" fmla="*/ 0 h 963549"/>
              <a:gd name="connsiteX2" fmla="*/ 399955 w 7482459"/>
              <a:gd name="connsiteY2" fmla="*/ 72009 h 963549"/>
              <a:gd name="connsiteX3" fmla="*/ 351377 w 7482459"/>
              <a:gd name="connsiteY3" fmla="*/ 72390 h 963549"/>
              <a:gd name="connsiteX4" fmla="*/ 307467 w 7482459"/>
              <a:gd name="connsiteY4" fmla="*/ 0 h 963549"/>
              <a:gd name="connsiteX5" fmla="*/ 118967 w 7482459"/>
              <a:gd name="connsiteY5" fmla="*/ 0 h 963549"/>
              <a:gd name="connsiteX6" fmla="*/ 0 w 7482459"/>
              <a:gd name="connsiteY6" fmla="*/ 199739 h 963549"/>
              <a:gd name="connsiteX7" fmla="*/ 0 w 7482459"/>
              <a:gd name="connsiteY7" fmla="*/ 342138 h 963549"/>
              <a:gd name="connsiteX8" fmla="*/ 78296 w 7482459"/>
              <a:gd name="connsiteY8" fmla="*/ 463772 h 963549"/>
              <a:gd name="connsiteX9" fmla="*/ 204216 w 7482459"/>
              <a:gd name="connsiteY9" fmla="*/ 463772 h 963549"/>
              <a:gd name="connsiteX10" fmla="*/ 219647 w 7482459"/>
              <a:gd name="connsiteY10" fmla="*/ 437007 h 963549"/>
              <a:gd name="connsiteX11" fmla="*/ 381000 w 7482459"/>
              <a:gd name="connsiteY11" fmla="*/ 437007 h 963549"/>
              <a:gd name="connsiteX12" fmla="*/ 399288 w 7482459"/>
              <a:gd name="connsiteY12" fmla="*/ 469773 h 963549"/>
              <a:gd name="connsiteX13" fmla="*/ 399288 w 7482459"/>
              <a:gd name="connsiteY13" fmla="*/ 568071 h 963549"/>
              <a:gd name="connsiteX14" fmla="*/ 434245 w 7482459"/>
              <a:gd name="connsiteY14" fmla="*/ 628841 h 963549"/>
              <a:gd name="connsiteX15" fmla="*/ 434054 w 7482459"/>
              <a:gd name="connsiteY15" fmla="*/ 693325 h 963549"/>
              <a:gd name="connsiteX16" fmla="*/ 492728 w 7482459"/>
              <a:gd name="connsiteY16" fmla="*/ 800005 h 963549"/>
              <a:gd name="connsiteX17" fmla="*/ 492728 w 7482459"/>
              <a:gd name="connsiteY17" fmla="*/ 884873 h 963549"/>
              <a:gd name="connsiteX18" fmla="*/ 559118 w 7482459"/>
              <a:gd name="connsiteY18" fmla="*/ 962978 h 963549"/>
              <a:gd name="connsiteX19" fmla="*/ 645414 w 7482459"/>
              <a:gd name="connsiteY19" fmla="*/ 963549 h 963549"/>
              <a:gd name="connsiteX20" fmla="*/ 688372 w 7482459"/>
              <a:gd name="connsiteY20" fmla="*/ 892112 h 963549"/>
              <a:gd name="connsiteX21" fmla="*/ 688372 w 7482459"/>
              <a:gd name="connsiteY21" fmla="*/ 837914 h 963549"/>
              <a:gd name="connsiteX22" fmla="*/ 784479 w 7482459"/>
              <a:gd name="connsiteY22" fmla="*/ 687229 h 963549"/>
              <a:gd name="connsiteX23" fmla="*/ 784479 w 7482459"/>
              <a:gd name="connsiteY23" fmla="*/ 586169 h 963549"/>
              <a:gd name="connsiteX24" fmla="*/ 831152 w 7482459"/>
              <a:gd name="connsiteY24" fmla="*/ 512636 h 963549"/>
              <a:gd name="connsiteX25" fmla="*/ 886968 w 7482459"/>
              <a:gd name="connsiteY25" fmla="*/ 513207 h 963549"/>
              <a:gd name="connsiteX26" fmla="*/ 979075 w 7482459"/>
              <a:gd name="connsiteY26" fmla="*/ 352139 h 963549"/>
              <a:gd name="connsiteX27" fmla="*/ 809530 w 7482459"/>
              <a:gd name="connsiteY27" fmla="*/ 352139 h 963549"/>
              <a:gd name="connsiteX28" fmla="*/ 761333 w 7482459"/>
              <a:gd name="connsiteY28" fmla="*/ 269367 h 963549"/>
              <a:gd name="connsiteX29" fmla="*/ 761429 w 7482459"/>
              <a:gd name="connsiteY29" fmla="*/ 189357 h 963549"/>
              <a:gd name="connsiteX30" fmla="*/ 681419 w 7482459"/>
              <a:gd name="connsiteY30" fmla="*/ 77438 h 963549"/>
              <a:gd name="connsiteX31" fmla="*/ 655511 w 7482459"/>
              <a:gd name="connsiteY31" fmla="*/ 77438 h 963549"/>
              <a:gd name="connsiteX32" fmla="*/ 487299 w 7482459"/>
              <a:gd name="connsiteY32" fmla="*/ 77438 h 963549"/>
              <a:gd name="connsiteX33" fmla="*/ 443293 w 7482459"/>
              <a:gd name="connsiteY33" fmla="*/ 153448 h 963549"/>
              <a:gd name="connsiteX34" fmla="*/ 316421 w 7482459"/>
              <a:gd name="connsiteY34" fmla="*/ 153448 h 963549"/>
              <a:gd name="connsiteX35" fmla="*/ 265843 w 7482459"/>
              <a:gd name="connsiteY35" fmla="*/ 67056 h 963549"/>
              <a:gd name="connsiteX36" fmla="*/ 159639 w 7482459"/>
              <a:gd name="connsiteY36" fmla="*/ 67056 h 963549"/>
              <a:gd name="connsiteX37" fmla="*/ 71914 w 7482459"/>
              <a:gd name="connsiteY37" fmla="*/ 225457 h 963549"/>
              <a:gd name="connsiteX38" fmla="*/ 71914 w 7482459"/>
              <a:gd name="connsiteY38" fmla="*/ 311753 h 963549"/>
              <a:gd name="connsiteX39" fmla="*/ 121825 w 7482459"/>
              <a:gd name="connsiteY39" fmla="*/ 393192 h 963549"/>
              <a:gd name="connsiteX40" fmla="*/ 160687 w 7482459"/>
              <a:gd name="connsiteY40" fmla="*/ 393192 h 963549"/>
              <a:gd name="connsiteX41" fmla="*/ 173260 w 7482459"/>
              <a:gd name="connsiteY41" fmla="*/ 370332 h 963549"/>
              <a:gd name="connsiteX42" fmla="*/ 416433 w 7482459"/>
              <a:gd name="connsiteY42" fmla="*/ 370332 h 963549"/>
              <a:gd name="connsiteX43" fmla="*/ 465392 w 7482459"/>
              <a:gd name="connsiteY43" fmla="*/ 455676 h 963549"/>
              <a:gd name="connsiteX44" fmla="*/ 465392 w 7482459"/>
              <a:gd name="connsiteY44" fmla="*/ 556736 h 963549"/>
              <a:gd name="connsiteX45" fmla="*/ 500443 w 7482459"/>
              <a:gd name="connsiteY45" fmla="*/ 616839 h 963549"/>
              <a:gd name="connsiteX46" fmla="*/ 500443 w 7482459"/>
              <a:gd name="connsiteY46" fmla="*/ 678275 h 963549"/>
              <a:gd name="connsiteX47" fmla="*/ 563309 w 7482459"/>
              <a:gd name="connsiteY47" fmla="*/ 783527 h 963549"/>
              <a:gd name="connsiteX48" fmla="*/ 563309 w 7482459"/>
              <a:gd name="connsiteY48" fmla="*/ 847344 h 963549"/>
              <a:gd name="connsiteX49" fmla="*/ 594932 w 7482459"/>
              <a:gd name="connsiteY49" fmla="*/ 888492 h 963549"/>
              <a:gd name="connsiteX50" fmla="*/ 609124 w 7482459"/>
              <a:gd name="connsiteY50" fmla="*/ 888492 h 963549"/>
              <a:gd name="connsiteX51" fmla="*/ 628460 w 7482459"/>
              <a:gd name="connsiteY51" fmla="*/ 856488 h 963549"/>
              <a:gd name="connsiteX52" fmla="*/ 628460 w 7482459"/>
              <a:gd name="connsiteY52" fmla="*/ 810292 h 963549"/>
              <a:gd name="connsiteX53" fmla="*/ 717899 w 7482459"/>
              <a:gd name="connsiteY53" fmla="*/ 667226 h 963549"/>
              <a:gd name="connsiteX54" fmla="*/ 718566 w 7482459"/>
              <a:gd name="connsiteY54" fmla="*/ 556165 h 963549"/>
              <a:gd name="connsiteX55" fmla="*/ 790956 w 7482459"/>
              <a:gd name="connsiteY55" fmla="*/ 448056 h 963549"/>
              <a:gd name="connsiteX56" fmla="*/ 843725 w 7482459"/>
              <a:gd name="connsiteY56" fmla="*/ 447770 h 963549"/>
              <a:gd name="connsiteX57" fmla="*/ 861060 w 7482459"/>
              <a:gd name="connsiteY57" fmla="*/ 419957 h 963549"/>
              <a:gd name="connsiteX58" fmla="*/ 767239 w 7482459"/>
              <a:gd name="connsiteY58" fmla="*/ 419957 h 963549"/>
              <a:gd name="connsiteX59" fmla="*/ 691229 w 7482459"/>
              <a:gd name="connsiteY59" fmla="*/ 291370 h 963549"/>
              <a:gd name="connsiteX60" fmla="*/ 689229 w 7482459"/>
              <a:gd name="connsiteY60" fmla="*/ 210407 h 963549"/>
              <a:gd name="connsiteX61" fmla="*/ 640271 w 7482459"/>
              <a:gd name="connsiteY61" fmla="*/ 144399 h 963549"/>
              <a:gd name="connsiteX62" fmla="*/ 532352 w 7482459"/>
              <a:gd name="connsiteY62" fmla="*/ 143447 h 963549"/>
              <a:gd name="connsiteX63" fmla="*/ 483108 w 7482459"/>
              <a:gd name="connsiteY63" fmla="*/ 228410 h 963549"/>
              <a:gd name="connsiteX64" fmla="*/ 271082 w 7482459"/>
              <a:gd name="connsiteY64" fmla="*/ 228410 h 963549"/>
              <a:gd name="connsiteX65" fmla="*/ 227743 w 7482459"/>
              <a:gd name="connsiteY65" fmla="*/ 156782 h 963549"/>
              <a:gd name="connsiteX66" fmla="*/ 200216 w 7482459"/>
              <a:gd name="connsiteY66" fmla="*/ 156782 h 963549"/>
              <a:gd name="connsiteX67" fmla="*/ 152019 w 7482459"/>
              <a:gd name="connsiteY67" fmla="*/ 248126 h 963549"/>
              <a:gd name="connsiteX68" fmla="*/ 150781 w 7482459"/>
              <a:gd name="connsiteY68" fmla="*/ 298990 h 963549"/>
              <a:gd name="connsiteX69" fmla="*/ 153638 w 7482459"/>
              <a:gd name="connsiteY69" fmla="*/ 303562 h 963549"/>
              <a:gd name="connsiteX70" fmla="*/ 157353 w 7482459"/>
              <a:gd name="connsiteY70" fmla="*/ 303467 h 963549"/>
              <a:gd name="connsiteX71" fmla="*/ 161068 w 7482459"/>
              <a:gd name="connsiteY71" fmla="*/ 298990 h 963549"/>
              <a:gd name="connsiteX72" fmla="*/ 525304 w 7482459"/>
              <a:gd name="connsiteY72" fmla="*/ 299180 h 963549"/>
              <a:gd name="connsiteX73" fmla="*/ 578739 w 7482459"/>
              <a:gd name="connsiteY73" fmla="*/ 213741 h 963549"/>
              <a:gd name="connsiteX74" fmla="*/ 607314 w 7482459"/>
              <a:gd name="connsiteY74" fmla="*/ 213741 h 963549"/>
              <a:gd name="connsiteX75" fmla="*/ 629317 w 7482459"/>
              <a:gd name="connsiteY75" fmla="*/ 242697 h 963549"/>
              <a:gd name="connsiteX76" fmla="*/ 629317 w 7482459"/>
              <a:gd name="connsiteY76" fmla="*/ 322326 h 963549"/>
              <a:gd name="connsiteX77" fmla="*/ 704945 w 7482459"/>
              <a:gd name="connsiteY77" fmla="*/ 449294 h 963549"/>
              <a:gd name="connsiteX78" fmla="*/ 648938 w 7482459"/>
              <a:gd name="connsiteY78" fmla="*/ 533400 h 963549"/>
              <a:gd name="connsiteX79" fmla="*/ 647510 w 7482459"/>
              <a:gd name="connsiteY79" fmla="*/ 650558 h 963549"/>
              <a:gd name="connsiteX80" fmla="*/ 603409 w 7482459"/>
              <a:gd name="connsiteY80" fmla="*/ 716852 h 963549"/>
              <a:gd name="connsiteX81" fmla="*/ 563404 w 7482459"/>
              <a:gd name="connsiteY81" fmla="*/ 649700 h 963549"/>
              <a:gd name="connsiteX82" fmla="*/ 563404 w 7482459"/>
              <a:gd name="connsiteY82" fmla="*/ 578644 h 963549"/>
              <a:gd name="connsiteX83" fmla="*/ 537496 w 7482459"/>
              <a:gd name="connsiteY83" fmla="*/ 536258 h 963549"/>
              <a:gd name="connsiteX84" fmla="*/ 537496 w 7482459"/>
              <a:gd name="connsiteY84" fmla="*/ 436721 h 963549"/>
              <a:gd name="connsiteX85" fmla="*/ 498824 w 7482459"/>
              <a:gd name="connsiteY85" fmla="*/ 368999 h 963549"/>
              <a:gd name="connsiteX86" fmla="*/ 581120 w 7482459"/>
              <a:gd name="connsiteY86" fmla="*/ 368999 h 963549"/>
              <a:gd name="connsiteX87" fmla="*/ 627698 w 7482459"/>
              <a:gd name="connsiteY87" fmla="*/ 443579 h 963549"/>
              <a:gd name="connsiteX88" fmla="*/ 592550 w 7482459"/>
              <a:gd name="connsiteY88" fmla="*/ 496729 h 963549"/>
              <a:gd name="connsiteX0" fmla="*/ 8451880 w 8451880"/>
              <a:gd name="connsiteY0" fmla="*/ 0 h 963549"/>
              <a:gd name="connsiteX1" fmla="*/ 439579 w 8451880"/>
              <a:gd name="connsiteY1" fmla="*/ 0 h 963549"/>
              <a:gd name="connsiteX2" fmla="*/ 399955 w 8451880"/>
              <a:gd name="connsiteY2" fmla="*/ 72009 h 963549"/>
              <a:gd name="connsiteX3" fmla="*/ 351377 w 8451880"/>
              <a:gd name="connsiteY3" fmla="*/ 72390 h 963549"/>
              <a:gd name="connsiteX4" fmla="*/ 307467 w 8451880"/>
              <a:gd name="connsiteY4" fmla="*/ 0 h 963549"/>
              <a:gd name="connsiteX5" fmla="*/ 118967 w 8451880"/>
              <a:gd name="connsiteY5" fmla="*/ 0 h 963549"/>
              <a:gd name="connsiteX6" fmla="*/ 0 w 8451880"/>
              <a:gd name="connsiteY6" fmla="*/ 199739 h 963549"/>
              <a:gd name="connsiteX7" fmla="*/ 0 w 8451880"/>
              <a:gd name="connsiteY7" fmla="*/ 342138 h 963549"/>
              <a:gd name="connsiteX8" fmla="*/ 78296 w 8451880"/>
              <a:gd name="connsiteY8" fmla="*/ 463772 h 963549"/>
              <a:gd name="connsiteX9" fmla="*/ 204216 w 8451880"/>
              <a:gd name="connsiteY9" fmla="*/ 463772 h 963549"/>
              <a:gd name="connsiteX10" fmla="*/ 219647 w 8451880"/>
              <a:gd name="connsiteY10" fmla="*/ 437007 h 963549"/>
              <a:gd name="connsiteX11" fmla="*/ 381000 w 8451880"/>
              <a:gd name="connsiteY11" fmla="*/ 437007 h 963549"/>
              <a:gd name="connsiteX12" fmla="*/ 399288 w 8451880"/>
              <a:gd name="connsiteY12" fmla="*/ 469773 h 963549"/>
              <a:gd name="connsiteX13" fmla="*/ 399288 w 8451880"/>
              <a:gd name="connsiteY13" fmla="*/ 568071 h 963549"/>
              <a:gd name="connsiteX14" fmla="*/ 434245 w 8451880"/>
              <a:gd name="connsiteY14" fmla="*/ 628841 h 963549"/>
              <a:gd name="connsiteX15" fmla="*/ 434054 w 8451880"/>
              <a:gd name="connsiteY15" fmla="*/ 693325 h 963549"/>
              <a:gd name="connsiteX16" fmla="*/ 492728 w 8451880"/>
              <a:gd name="connsiteY16" fmla="*/ 800005 h 963549"/>
              <a:gd name="connsiteX17" fmla="*/ 492728 w 8451880"/>
              <a:gd name="connsiteY17" fmla="*/ 884873 h 963549"/>
              <a:gd name="connsiteX18" fmla="*/ 559118 w 8451880"/>
              <a:gd name="connsiteY18" fmla="*/ 962978 h 963549"/>
              <a:gd name="connsiteX19" fmla="*/ 645414 w 8451880"/>
              <a:gd name="connsiteY19" fmla="*/ 963549 h 963549"/>
              <a:gd name="connsiteX20" fmla="*/ 688372 w 8451880"/>
              <a:gd name="connsiteY20" fmla="*/ 892112 h 963549"/>
              <a:gd name="connsiteX21" fmla="*/ 688372 w 8451880"/>
              <a:gd name="connsiteY21" fmla="*/ 837914 h 963549"/>
              <a:gd name="connsiteX22" fmla="*/ 784479 w 8451880"/>
              <a:gd name="connsiteY22" fmla="*/ 687229 h 963549"/>
              <a:gd name="connsiteX23" fmla="*/ 784479 w 8451880"/>
              <a:gd name="connsiteY23" fmla="*/ 586169 h 963549"/>
              <a:gd name="connsiteX24" fmla="*/ 831152 w 8451880"/>
              <a:gd name="connsiteY24" fmla="*/ 512636 h 963549"/>
              <a:gd name="connsiteX25" fmla="*/ 886968 w 8451880"/>
              <a:gd name="connsiteY25" fmla="*/ 513207 h 963549"/>
              <a:gd name="connsiteX26" fmla="*/ 979075 w 8451880"/>
              <a:gd name="connsiteY26" fmla="*/ 352139 h 963549"/>
              <a:gd name="connsiteX27" fmla="*/ 809530 w 8451880"/>
              <a:gd name="connsiteY27" fmla="*/ 352139 h 963549"/>
              <a:gd name="connsiteX28" fmla="*/ 761333 w 8451880"/>
              <a:gd name="connsiteY28" fmla="*/ 269367 h 963549"/>
              <a:gd name="connsiteX29" fmla="*/ 761429 w 8451880"/>
              <a:gd name="connsiteY29" fmla="*/ 189357 h 963549"/>
              <a:gd name="connsiteX30" fmla="*/ 681419 w 8451880"/>
              <a:gd name="connsiteY30" fmla="*/ 77438 h 963549"/>
              <a:gd name="connsiteX31" fmla="*/ 655511 w 8451880"/>
              <a:gd name="connsiteY31" fmla="*/ 77438 h 963549"/>
              <a:gd name="connsiteX32" fmla="*/ 487299 w 8451880"/>
              <a:gd name="connsiteY32" fmla="*/ 77438 h 963549"/>
              <a:gd name="connsiteX33" fmla="*/ 443293 w 8451880"/>
              <a:gd name="connsiteY33" fmla="*/ 153448 h 963549"/>
              <a:gd name="connsiteX34" fmla="*/ 316421 w 8451880"/>
              <a:gd name="connsiteY34" fmla="*/ 153448 h 963549"/>
              <a:gd name="connsiteX35" fmla="*/ 265843 w 8451880"/>
              <a:gd name="connsiteY35" fmla="*/ 67056 h 963549"/>
              <a:gd name="connsiteX36" fmla="*/ 159639 w 8451880"/>
              <a:gd name="connsiteY36" fmla="*/ 67056 h 963549"/>
              <a:gd name="connsiteX37" fmla="*/ 71914 w 8451880"/>
              <a:gd name="connsiteY37" fmla="*/ 225457 h 963549"/>
              <a:gd name="connsiteX38" fmla="*/ 71914 w 8451880"/>
              <a:gd name="connsiteY38" fmla="*/ 311753 h 963549"/>
              <a:gd name="connsiteX39" fmla="*/ 121825 w 8451880"/>
              <a:gd name="connsiteY39" fmla="*/ 393192 h 963549"/>
              <a:gd name="connsiteX40" fmla="*/ 160687 w 8451880"/>
              <a:gd name="connsiteY40" fmla="*/ 393192 h 963549"/>
              <a:gd name="connsiteX41" fmla="*/ 173260 w 8451880"/>
              <a:gd name="connsiteY41" fmla="*/ 370332 h 963549"/>
              <a:gd name="connsiteX42" fmla="*/ 416433 w 8451880"/>
              <a:gd name="connsiteY42" fmla="*/ 370332 h 963549"/>
              <a:gd name="connsiteX43" fmla="*/ 465392 w 8451880"/>
              <a:gd name="connsiteY43" fmla="*/ 455676 h 963549"/>
              <a:gd name="connsiteX44" fmla="*/ 465392 w 8451880"/>
              <a:gd name="connsiteY44" fmla="*/ 556736 h 963549"/>
              <a:gd name="connsiteX45" fmla="*/ 500443 w 8451880"/>
              <a:gd name="connsiteY45" fmla="*/ 616839 h 963549"/>
              <a:gd name="connsiteX46" fmla="*/ 500443 w 8451880"/>
              <a:gd name="connsiteY46" fmla="*/ 678275 h 963549"/>
              <a:gd name="connsiteX47" fmla="*/ 563309 w 8451880"/>
              <a:gd name="connsiteY47" fmla="*/ 783527 h 963549"/>
              <a:gd name="connsiteX48" fmla="*/ 563309 w 8451880"/>
              <a:gd name="connsiteY48" fmla="*/ 847344 h 963549"/>
              <a:gd name="connsiteX49" fmla="*/ 594932 w 8451880"/>
              <a:gd name="connsiteY49" fmla="*/ 888492 h 963549"/>
              <a:gd name="connsiteX50" fmla="*/ 609124 w 8451880"/>
              <a:gd name="connsiteY50" fmla="*/ 888492 h 963549"/>
              <a:gd name="connsiteX51" fmla="*/ 628460 w 8451880"/>
              <a:gd name="connsiteY51" fmla="*/ 856488 h 963549"/>
              <a:gd name="connsiteX52" fmla="*/ 628460 w 8451880"/>
              <a:gd name="connsiteY52" fmla="*/ 810292 h 963549"/>
              <a:gd name="connsiteX53" fmla="*/ 717899 w 8451880"/>
              <a:gd name="connsiteY53" fmla="*/ 667226 h 963549"/>
              <a:gd name="connsiteX54" fmla="*/ 718566 w 8451880"/>
              <a:gd name="connsiteY54" fmla="*/ 556165 h 963549"/>
              <a:gd name="connsiteX55" fmla="*/ 790956 w 8451880"/>
              <a:gd name="connsiteY55" fmla="*/ 448056 h 963549"/>
              <a:gd name="connsiteX56" fmla="*/ 843725 w 8451880"/>
              <a:gd name="connsiteY56" fmla="*/ 447770 h 963549"/>
              <a:gd name="connsiteX57" fmla="*/ 861060 w 8451880"/>
              <a:gd name="connsiteY57" fmla="*/ 419957 h 963549"/>
              <a:gd name="connsiteX58" fmla="*/ 767239 w 8451880"/>
              <a:gd name="connsiteY58" fmla="*/ 419957 h 963549"/>
              <a:gd name="connsiteX59" fmla="*/ 691229 w 8451880"/>
              <a:gd name="connsiteY59" fmla="*/ 291370 h 963549"/>
              <a:gd name="connsiteX60" fmla="*/ 689229 w 8451880"/>
              <a:gd name="connsiteY60" fmla="*/ 210407 h 963549"/>
              <a:gd name="connsiteX61" fmla="*/ 640271 w 8451880"/>
              <a:gd name="connsiteY61" fmla="*/ 144399 h 963549"/>
              <a:gd name="connsiteX62" fmla="*/ 532352 w 8451880"/>
              <a:gd name="connsiteY62" fmla="*/ 143447 h 963549"/>
              <a:gd name="connsiteX63" fmla="*/ 483108 w 8451880"/>
              <a:gd name="connsiteY63" fmla="*/ 228410 h 963549"/>
              <a:gd name="connsiteX64" fmla="*/ 271082 w 8451880"/>
              <a:gd name="connsiteY64" fmla="*/ 228410 h 963549"/>
              <a:gd name="connsiteX65" fmla="*/ 227743 w 8451880"/>
              <a:gd name="connsiteY65" fmla="*/ 156782 h 963549"/>
              <a:gd name="connsiteX66" fmla="*/ 200216 w 8451880"/>
              <a:gd name="connsiteY66" fmla="*/ 156782 h 963549"/>
              <a:gd name="connsiteX67" fmla="*/ 152019 w 8451880"/>
              <a:gd name="connsiteY67" fmla="*/ 248126 h 963549"/>
              <a:gd name="connsiteX68" fmla="*/ 150781 w 8451880"/>
              <a:gd name="connsiteY68" fmla="*/ 298990 h 963549"/>
              <a:gd name="connsiteX69" fmla="*/ 153638 w 8451880"/>
              <a:gd name="connsiteY69" fmla="*/ 303562 h 963549"/>
              <a:gd name="connsiteX70" fmla="*/ 157353 w 8451880"/>
              <a:gd name="connsiteY70" fmla="*/ 303467 h 963549"/>
              <a:gd name="connsiteX71" fmla="*/ 161068 w 8451880"/>
              <a:gd name="connsiteY71" fmla="*/ 298990 h 963549"/>
              <a:gd name="connsiteX72" fmla="*/ 525304 w 8451880"/>
              <a:gd name="connsiteY72" fmla="*/ 299180 h 963549"/>
              <a:gd name="connsiteX73" fmla="*/ 578739 w 8451880"/>
              <a:gd name="connsiteY73" fmla="*/ 213741 h 963549"/>
              <a:gd name="connsiteX74" fmla="*/ 607314 w 8451880"/>
              <a:gd name="connsiteY74" fmla="*/ 213741 h 963549"/>
              <a:gd name="connsiteX75" fmla="*/ 629317 w 8451880"/>
              <a:gd name="connsiteY75" fmla="*/ 242697 h 963549"/>
              <a:gd name="connsiteX76" fmla="*/ 629317 w 8451880"/>
              <a:gd name="connsiteY76" fmla="*/ 322326 h 963549"/>
              <a:gd name="connsiteX77" fmla="*/ 704945 w 8451880"/>
              <a:gd name="connsiteY77" fmla="*/ 449294 h 963549"/>
              <a:gd name="connsiteX78" fmla="*/ 648938 w 8451880"/>
              <a:gd name="connsiteY78" fmla="*/ 533400 h 963549"/>
              <a:gd name="connsiteX79" fmla="*/ 647510 w 8451880"/>
              <a:gd name="connsiteY79" fmla="*/ 650558 h 963549"/>
              <a:gd name="connsiteX80" fmla="*/ 603409 w 8451880"/>
              <a:gd name="connsiteY80" fmla="*/ 716852 h 963549"/>
              <a:gd name="connsiteX81" fmla="*/ 563404 w 8451880"/>
              <a:gd name="connsiteY81" fmla="*/ 649700 h 963549"/>
              <a:gd name="connsiteX82" fmla="*/ 563404 w 8451880"/>
              <a:gd name="connsiteY82" fmla="*/ 578644 h 963549"/>
              <a:gd name="connsiteX83" fmla="*/ 537496 w 8451880"/>
              <a:gd name="connsiteY83" fmla="*/ 536258 h 963549"/>
              <a:gd name="connsiteX84" fmla="*/ 537496 w 8451880"/>
              <a:gd name="connsiteY84" fmla="*/ 436721 h 963549"/>
              <a:gd name="connsiteX85" fmla="*/ 498824 w 8451880"/>
              <a:gd name="connsiteY85" fmla="*/ 368999 h 963549"/>
              <a:gd name="connsiteX86" fmla="*/ 581120 w 8451880"/>
              <a:gd name="connsiteY86" fmla="*/ 368999 h 963549"/>
              <a:gd name="connsiteX87" fmla="*/ 627698 w 8451880"/>
              <a:gd name="connsiteY87" fmla="*/ 443579 h 963549"/>
              <a:gd name="connsiteX88" fmla="*/ 592550 w 8451880"/>
              <a:gd name="connsiteY88" fmla="*/ 496729 h 963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8451880" h="963549">
                <a:moveTo>
                  <a:pt x="8451880" y="0"/>
                </a:moveTo>
                <a:lnTo>
                  <a:pt x="439579" y="0"/>
                </a:lnTo>
                <a:lnTo>
                  <a:pt x="399955" y="72009"/>
                </a:lnTo>
                <a:lnTo>
                  <a:pt x="351377" y="72390"/>
                </a:lnTo>
                <a:lnTo>
                  <a:pt x="307467" y="0"/>
                </a:lnTo>
                <a:lnTo>
                  <a:pt x="118967" y="0"/>
                </a:lnTo>
                <a:lnTo>
                  <a:pt x="0" y="199739"/>
                </a:lnTo>
                <a:lnTo>
                  <a:pt x="0" y="342138"/>
                </a:lnTo>
                <a:lnTo>
                  <a:pt x="78296" y="463772"/>
                </a:lnTo>
                <a:lnTo>
                  <a:pt x="204216" y="463772"/>
                </a:lnTo>
                <a:lnTo>
                  <a:pt x="219647" y="437007"/>
                </a:lnTo>
                <a:lnTo>
                  <a:pt x="381000" y="437007"/>
                </a:lnTo>
                <a:lnTo>
                  <a:pt x="399288" y="469773"/>
                </a:lnTo>
                <a:lnTo>
                  <a:pt x="399288" y="568071"/>
                </a:lnTo>
                <a:lnTo>
                  <a:pt x="434245" y="628841"/>
                </a:lnTo>
                <a:cubicBezTo>
                  <a:pt x="434181" y="650336"/>
                  <a:pt x="434118" y="671830"/>
                  <a:pt x="434054" y="693325"/>
                </a:cubicBezTo>
                <a:lnTo>
                  <a:pt x="492728" y="800005"/>
                </a:lnTo>
                <a:lnTo>
                  <a:pt x="492728" y="884873"/>
                </a:lnTo>
                <a:lnTo>
                  <a:pt x="559118" y="962978"/>
                </a:lnTo>
                <a:lnTo>
                  <a:pt x="645414" y="963549"/>
                </a:lnTo>
                <a:lnTo>
                  <a:pt x="688372" y="892112"/>
                </a:lnTo>
                <a:lnTo>
                  <a:pt x="688372" y="837914"/>
                </a:lnTo>
                <a:lnTo>
                  <a:pt x="784479" y="687229"/>
                </a:lnTo>
                <a:lnTo>
                  <a:pt x="784479" y="586169"/>
                </a:lnTo>
                <a:lnTo>
                  <a:pt x="831152" y="512636"/>
                </a:lnTo>
                <a:lnTo>
                  <a:pt x="886968" y="513207"/>
                </a:lnTo>
                <a:lnTo>
                  <a:pt x="979075" y="352139"/>
                </a:lnTo>
                <a:lnTo>
                  <a:pt x="809530" y="352139"/>
                </a:lnTo>
                <a:lnTo>
                  <a:pt x="761333" y="269367"/>
                </a:lnTo>
                <a:lnTo>
                  <a:pt x="761429" y="189357"/>
                </a:lnTo>
                <a:lnTo>
                  <a:pt x="681419" y="77438"/>
                </a:lnTo>
                <a:lnTo>
                  <a:pt x="655511" y="77438"/>
                </a:lnTo>
                <a:lnTo>
                  <a:pt x="487299" y="77438"/>
                </a:lnTo>
                <a:lnTo>
                  <a:pt x="443293" y="153448"/>
                </a:lnTo>
                <a:lnTo>
                  <a:pt x="316421" y="153448"/>
                </a:lnTo>
                <a:lnTo>
                  <a:pt x="265843" y="67056"/>
                </a:lnTo>
                <a:lnTo>
                  <a:pt x="159639" y="67056"/>
                </a:lnTo>
                <a:lnTo>
                  <a:pt x="71914" y="225457"/>
                </a:lnTo>
                <a:lnTo>
                  <a:pt x="71914" y="311753"/>
                </a:lnTo>
                <a:lnTo>
                  <a:pt x="121825" y="393192"/>
                </a:lnTo>
                <a:lnTo>
                  <a:pt x="160687" y="393192"/>
                </a:lnTo>
                <a:lnTo>
                  <a:pt x="173260" y="370332"/>
                </a:lnTo>
                <a:lnTo>
                  <a:pt x="416433" y="370332"/>
                </a:lnTo>
                <a:lnTo>
                  <a:pt x="465392" y="455676"/>
                </a:lnTo>
                <a:lnTo>
                  <a:pt x="465392" y="556736"/>
                </a:lnTo>
                <a:lnTo>
                  <a:pt x="500443" y="616839"/>
                </a:lnTo>
                <a:lnTo>
                  <a:pt x="500443" y="678275"/>
                </a:lnTo>
                <a:lnTo>
                  <a:pt x="563309" y="783527"/>
                </a:lnTo>
                <a:lnTo>
                  <a:pt x="563309" y="847344"/>
                </a:lnTo>
                <a:lnTo>
                  <a:pt x="594932" y="888492"/>
                </a:lnTo>
                <a:lnTo>
                  <a:pt x="609124" y="888492"/>
                </a:lnTo>
                <a:lnTo>
                  <a:pt x="628460" y="856488"/>
                </a:lnTo>
                <a:lnTo>
                  <a:pt x="628460" y="810292"/>
                </a:lnTo>
                <a:lnTo>
                  <a:pt x="717899" y="667226"/>
                </a:lnTo>
                <a:cubicBezTo>
                  <a:pt x="718121" y="630206"/>
                  <a:pt x="718344" y="593185"/>
                  <a:pt x="718566" y="556165"/>
                </a:cubicBezTo>
                <a:lnTo>
                  <a:pt x="790956" y="448056"/>
                </a:lnTo>
                <a:lnTo>
                  <a:pt x="843725" y="447770"/>
                </a:lnTo>
                <a:lnTo>
                  <a:pt x="861060" y="419957"/>
                </a:lnTo>
                <a:lnTo>
                  <a:pt x="767239" y="419957"/>
                </a:lnTo>
                <a:lnTo>
                  <a:pt x="691229" y="291370"/>
                </a:lnTo>
                <a:cubicBezTo>
                  <a:pt x="690562" y="264382"/>
                  <a:pt x="689896" y="237395"/>
                  <a:pt x="689229" y="210407"/>
                </a:cubicBezTo>
                <a:lnTo>
                  <a:pt x="640271" y="144399"/>
                </a:lnTo>
                <a:lnTo>
                  <a:pt x="532352" y="143447"/>
                </a:lnTo>
                <a:lnTo>
                  <a:pt x="483108" y="228410"/>
                </a:lnTo>
                <a:lnTo>
                  <a:pt x="271082" y="228410"/>
                </a:lnTo>
                <a:lnTo>
                  <a:pt x="227743" y="156782"/>
                </a:lnTo>
                <a:lnTo>
                  <a:pt x="200216" y="156782"/>
                </a:lnTo>
                <a:lnTo>
                  <a:pt x="152019" y="248126"/>
                </a:lnTo>
                <a:cubicBezTo>
                  <a:pt x="151606" y="265081"/>
                  <a:pt x="151194" y="282035"/>
                  <a:pt x="150781" y="298990"/>
                </a:cubicBezTo>
                <a:lnTo>
                  <a:pt x="153638" y="303562"/>
                </a:lnTo>
                <a:lnTo>
                  <a:pt x="157353" y="303467"/>
                </a:lnTo>
                <a:lnTo>
                  <a:pt x="161068" y="298990"/>
                </a:lnTo>
                <a:lnTo>
                  <a:pt x="525304" y="299180"/>
                </a:lnTo>
                <a:lnTo>
                  <a:pt x="578739" y="213741"/>
                </a:lnTo>
                <a:lnTo>
                  <a:pt x="607314" y="213741"/>
                </a:lnTo>
                <a:lnTo>
                  <a:pt x="629317" y="242697"/>
                </a:lnTo>
                <a:lnTo>
                  <a:pt x="629317" y="322326"/>
                </a:lnTo>
                <a:lnTo>
                  <a:pt x="704945" y="449294"/>
                </a:lnTo>
                <a:lnTo>
                  <a:pt x="648938" y="533400"/>
                </a:lnTo>
                <a:lnTo>
                  <a:pt x="647510" y="650558"/>
                </a:lnTo>
                <a:lnTo>
                  <a:pt x="603409" y="716852"/>
                </a:lnTo>
                <a:lnTo>
                  <a:pt x="563404" y="649700"/>
                </a:lnTo>
                <a:lnTo>
                  <a:pt x="563404" y="578644"/>
                </a:lnTo>
                <a:lnTo>
                  <a:pt x="537496" y="536258"/>
                </a:lnTo>
                <a:lnTo>
                  <a:pt x="537496" y="436721"/>
                </a:lnTo>
                <a:lnTo>
                  <a:pt x="498824" y="368999"/>
                </a:lnTo>
                <a:lnTo>
                  <a:pt x="581120" y="368999"/>
                </a:lnTo>
                <a:lnTo>
                  <a:pt x="627698" y="443579"/>
                </a:lnTo>
                <a:lnTo>
                  <a:pt x="592550" y="496729"/>
                </a:lnTo>
              </a:path>
            </a:pathLst>
          </a:custGeom>
          <a:noFill/>
          <a:ln w="7144" cap="flat">
            <a:solidFill>
              <a:srgbClr val="E63C2B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4954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559081"/>
            <a:ext cx="5741486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0BD579-4CC2-EDC1-6F2E-4E4E271189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6798" y="260004"/>
            <a:ext cx="1428987" cy="97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1478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C4A12B0-5BA2-5100-AAD4-E12E3C1737AF}"/>
              </a:ext>
            </a:extLst>
          </p:cNvPr>
          <p:cNvSpPr/>
          <p:nvPr userDrawn="1"/>
        </p:nvSpPr>
        <p:spPr>
          <a:xfrm>
            <a:off x="0" y="0"/>
            <a:ext cx="12192001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29B7C479-2D3F-2960-139A-D5BB63A41E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82543" y="-1"/>
            <a:ext cx="4909457" cy="6858257"/>
          </a:xfrm>
          <a:custGeom>
            <a:avLst/>
            <a:gdLst>
              <a:gd name="connsiteX0" fmla="*/ 0 w 4401300"/>
              <a:gd name="connsiteY0" fmla="*/ 0 h 6148388"/>
              <a:gd name="connsiteX1" fmla="*/ 4401300 w 4401300"/>
              <a:gd name="connsiteY1" fmla="*/ 0 h 6148388"/>
              <a:gd name="connsiteX2" fmla="*/ 4401300 w 4401300"/>
              <a:gd name="connsiteY2" fmla="*/ 6148388 h 6148388"/>
              <a:gd name="connsiteX3" fmla="*/ 3799566 w 4401300"/>
              <a:gd name="connsiteY3" fmla="*/ 6148388 h 614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01300" h="6148388">
                <a:moveTo>
                  <a:pt x="0" y="0"/>
                </a:moveTo>
                <a:lnTo>
                  <a:pt x="4401300" y="0"/>
                </a:lnTo>
                <a:lnTo>
                  <a:pt x="4401300" y="6148388"/>
                </a:lnTo>
                <a:lnTo>
                  <a:pt x="3799566" y="6148388"/>
                </a:lnTo>
                <a:close/>
              </a:path>
            </a:pathLst>
          </a:cu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FD2AA106-02DD-9456-5F7D-D1D25492CDB8}"/>
              </a:ext>
            </a:extLst>
          </p:cNvPr>
          <p:cNvSpPr/>
          <p:nvPr userDrawn="1"/>
        </p:nvSpPr>
        <p:spPr>
          <a:xfrm>
            <a:off x="11521842" y="6474757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5D950A5-2828-221A-996F-175C05E4BB43}"/>
              </a:ext>
            </a:extLst>
          </p:cNvPr>
          <p:cNvSpPr/>
          <p:nvPr userDrawn="1"/>
        </p:nvSpPr>
        <p:spPr>
          <a:xfrm>
            <a:off x="11588593" y="65348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>
              <a:solidFill>
                <a:schemeClr val="bg1"/>
              </a:solidFill>
              <a:latin typeface="Tahoma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470FF30-5A43-9A43-5905-5F595AC73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795" y="2844800"/>
            <a:ext cx="6212351" cy="4101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65" name="Text Placeholder 13">
            <a:extLst>
              <a:ext uri="{FF2B5EF4-FFF2-40B4-BE49-F238E27FC236}">
                <a16:creationId xmlns:a16="http://schemas.microsoft.com/office/drawing/2014/main" id="{0A8EDC15-9113-2840-B13A-8731DFA92A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3795" y="3548530"/>
            <a:ext cx="5889053" cy="410136"/>
          </a:xfrm>
          <a:prstGeom prst="rect">
            <a:avLst/>
          </a:prstGeom>
        </p:spPr>
        <p:txBody>
          <a:bodyPr wrap="none"/>
          <a:lstStyle>
            <a:lvl1pPr>
              <a:defRPr sz="16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</p:spTree>
    <p:extLst>
      <p:ext uri="{BB962C8B-B14F-4D97-AF65-F5344CB8AC3E}">
        <p14:creationId xmlns:p14="http://schemas.microsoft.com/office/powerpoint/2010/main" val="36523945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2D027E8-2D4E-9357-81F5-234479FBBA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3634" y="528118"/>
            <a:ext cx="5907785" cy="3522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F0BAC52-79D1-6BFD-F36B-C7F59E7AB7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8755" y="1778000"/>
            <a:ext cx="42037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8657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370647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60872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921209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E1EFCF2-014A-C6FC-8AA7-CCC868BA8A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158786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16671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2D027E8-2D4E-9357-81F5-234479FBBA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5" y="845445"/>
            <a:ext cx="10079724" cy="3522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1F9625-3BD0-8CEF-BB6E-C2D380C404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3474" y="1778000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8657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370647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60872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921209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CFE821C-A126-325A-A5F7-2E8FCBEC6A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0000" y="1778000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8657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370647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60872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921209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77C89CF-65C0-65A1-9053-1E5547FD1A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6526" y="1778000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8657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370647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60872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921209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10E32AF-ABB5-810B-6647-AA7A03E11C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42775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CE057FC0-0CF3-598B-7894-CC63D03D9B7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10100" y="1777883"/>
            <a:ext cx="7581900" cy="3902075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1CA1FCD-EF11-F77D-A3FA-03915A1E75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7951" y="2466814"/>
            <a:ext cx="4139578" cy="3213144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00000"/>
              </a:lnSpc>
              <a:spcBef>
                <a:spcPts val="56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1800"/>
              <a:t>Normal text here and here and here and here</a:t>
            </a:r>
            <a:endParaRPr lang="en-GB" sz="2400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7ADA2A2-B019-3E85-7EB4-24AC52AC21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792" y="1776016"/>
            <a:ext cx="4139578" cy="690797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E2CF7-1553-356D-C0BE-FEE5FC3377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7421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031-043D-4150-8D51-38680CAB1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436" y="1061440"/>
            <a:ext cx="10822684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C6647BB-83A6-68CE-A0DA-BA6CBD6AE7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1435" y="2112087"/>
            <a:ext cx="10822684" cy="2361671"/>
          </a:xfrm>
          <a:prstGeom prst="rect">
            <a:avLst/>
          </a:prstGeom>
        </p:spPr>
        <p:txBody>
          <a:bodyPr/>
          <a:lstStyle>
            <a:lvl1pPr marL="7521" marR="361381" indent="-189904" algn="ctr">
              <a:lnSpc>
                <a:spcPct val="165300"/>
              </a:lnSpc>
              <a:spcBef>
                <a:spcPts val="56"/>
              </a:spcBef>
              <a:buNone/>
              <a:defRPr sz="20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/>
              <a:t>Lorem ipsum dolor sit </a:t>
            </a:r>
            <a:r>
              <a:rPr lang="en-US" sz="2400" err="1"/>
              <a:t>amet</a:t>
            </a:r>
            <a:r>
              <a:rPr lang="en-US" sz="2400"/>
              <a:t>, </a:t>
            </a:r>
            <a:r>
              <a:rPr lang="en-US" sz="2400" err="1"/>
              <a:t>consectetuer</a:t>
            </a:r>
            <a:r>
              <a:rPr lang="en-US" sz="2400"/>
              <a:t> </a:t>
            </a:r>
            <a:r>
              <a:rPr lang="en-US" sz="2400" err="1"/>
              <a:t>adipiscing</a:t>
            </a:r>
            <a:r>
              <a:rPr lang="en-US" sz="2400"/>
              <a:t> </a:t>
            </a:r>
            <a:r>
              <a:rPr lang="en-US" sz="2400" err="1"/>
              <a:t>elit</a:t>
            </a:r>
            <a:r>
              <a:rPr lang="en-US" sz="2400"/>
              <a:t>, sed diam </a:t>
            </a:r>
            <a:r>
              <a:rPr lang="en-US" sz="2400" err="1"/>
              <a:t>nonummy</a:t>
            </a:r>
            <a:r>
              <a:rPr lang="en-US" sz="2400"/>
              <a:t> </a:t>
            </a:r>
            <a:r>
              <a:rPr lang="en-US" sz="2400" err="1"/>
              <a:t>nibh</a:t>
            </a:r>
            <a:r>
              <a:rPr lang="en-US" sz="2400"/>
              <a:t> </a:t>
            </a:r>
            <a:r>
              <a:rPr lang="en-US" sz="2400" err="1"/>
              <a:t>euismod</a:t>
            </a:r>
            <a:r>
              <a:rPr lang="en-US" sz="2400"/>
              <a:t> </a:t>
            </a:r>
            <a:r>
              <a:rPr lang="en-US" sz="2400" err="1"/>
              <a:t>tincidunt</a:t>
            </a:r>
            <a:r>
              <a:rPr lang="en-US" sz="2400"/>
              <a:t> </a:t>
            </a:r>
            <a:r>
              <a:rPr lang="en-US" sz="2400" err="1"/>
              <a:t>ut</a:t>
            </a:r>
            <a:r>
              <a:rPr lang="en-US" sz="2400"/>
              <a:t> </a:t>
            </a:r>
            <a:r>
              <a:rPr lang="en-US" sz="2400" err="1"/>
              <a:t>laoreet</a:t>
            </a:r>
            <a:r>
              <a:rPr lang="en-US" sz="2400"/>
              <a:t> dolore magna </a:t>
            </a:r>
            <a:r>
              <a:rPr lang="en-US" sz="2400" err="1"/>
              <a:t>aliquam</a:t>
            </a:r>
            <a:r>
              <a:rPr lang="en-US" sz="2400"/>
              <a:t> </a:t>
            </a:r>
            <a:r>
              <a:rPr lang="en-US" sz="2400" err="1"/>
              <a:t>erat</a:t>
            </a:r>
            <a:r>
              <a:rPr lang="en-US" sz="2400"/>
              <a:t> </a:t>
            </a:r>
            <a:r>
              <a:rPr lang="en-US" sz="2400" err="1"/>
              <a:t>volutpat</a:t>
            </a:r>
            <a:r>
              <a:rPr lang="en-US" sz="2400"/>
              <a:t>. Ut </a:t>
            </a:r>
            <a:r>
              <a:rPr lang="en-US" sz="2400" err="1"/>
              <a:t>wisi</a:t>
            </a:r>
            <a:r>
              <a:rPr lang="en-US" sz="2400"/>
              <a:t> </a:t>
            </a:r>
            <a:r>
              <a:rPr lang="en-US" sz="2400" err="1"/>
              <a:t>enim</a:t>
            </a:r>
            <a:r>
              <a:rPr lang="en-US" sz="2400"/>
              <a:t> ad minim </a:t>
            </a:r>
            <a:r>
              <a:rPr lang="en-US" sz="2400" err="1"/>
              <a:t>veniam</a:t>
            </a:r>
            <a:r>
              <a:rPr lang="en-US" sz="2400"/>
              <a:t>, </a:t>
            </a:r>
            <a:r>
              <a:rPr lang="en-US" sz="2400" err="1"/>
              <a:t>quis</a:t>
            </a:r>
            <a:r>
              <a:rPr lang="en-US" sz="2400"/>
              <a:t> </a:t>
            </a:r>
            <a:r>
              <a:rPr lang="en-US" sz="2400" err="1"/>
              <a:t>nostrud</a:t>
            </a:r>
            <a:r>
              <a:rPr lang="en-US" sz="2400"/>
              <a:t> </a:t>
            </a:r>
            <a:r>
              <a:rPr lang="en-US" sz="2400" err="1"/>
              <a:t>exerci</a:t>
            </a:r>
            <a:r>
              <a:rPr lang="en-US" sz="2400"/>
              <a:t> </a:t>
            </a:r>
            <a:r>
              <a:rPr lang="en-US" sz="2400" err="1"/>
              <a:t>tation</a:t>
            </a:r>
            <a:r>
              <a:rPr lang="en-US" sz="2400"/>
              <a:t> </a:t>
            </a:r>
            <a:r>
              <a:rPr lang="en-US" sz="2400" err="1"/>
              <a:t>ullamcorper</a:t>
            </a:r>
            <a:r>
              <a:rPr lang="en-US" sz="2400"/>
              <a:t> </a:t>
            </a:r>
            <a:r>
              <a:rPr lang="en-US" sz="2400" err="1"/>
              <a:t>suscipit</a:t>
            </a:r>
            <a:r>
              <a:rPr lang="en-US" sz="2400"/>
              <a:t> </a:t>
            </a:r>
            <a:r>
              <a:rPr lang="en-US" sz="2400" err="1"/>
              <a:t>lobortis</a:t>
            </a:r>
            <a:r>
              <a:rPr lang="en-US" sz="2400"/>
              <a:t> </a:t>
            </a:r>
            <a:r>
              <a:rPr lang="en-US" sz="2400" err="1"/>
              <a:t>nisl</a:t>
            </a:r>
            <a:r>
              <a:rPr lang="en-US" sz="2400"/>
              <a:t> </a:t>
            </a:r>
            <a:r>
              <a:rPr lang="en-US" sz="2400" err="1"/>
              <a:t>ut</a:t>
            </a:r>
            <a:r>
              <a:rPr lang="en-US" sz="2400"/>
              <a:t> </a:t>
            </a:r>
            <a:r>
              <a:rPr lang="en-US" sz="2400" err="1"/>
              <a:t>aliquip</a:t>
            </a:r>
            <a:r>
              <a:rPr lang="en-US" sz="2400"/>
              <a:t> ex </a:t>
            </a:r>
            <a:r>
              <a:rPr lang="en-US" sz="2400" err="1"/>
              <a:t>ea</a:t>
            </a:r>
            <a:r>
              <a:rPr lang="en-US" sz="2400"/>
              <a:t> </a:t>
            </a:r>
            <a:r>
              <a:rPr lang="en-US" sz="2400" err="1"/>
              <a:t>commodo</a:t>
            </a:r>
            <a:r>
              <a:rPr lang="en-US" sz="2400"/>
              <a:t> </a:t>
            </a:r>
            <a:r>
              <a:rPr lang="en-US" sz="2400" err="1"/>
              <a:t>consequat</a:t>
            </a:r>
            <a:r>
              <a:rPr lang="en-US" sz="2400"/>
              <a:t>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BA122D4-C660-4B51-E621-0749C8299F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96657" y="4689172"/>
            <a:ext cx="1763624" cy="23852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>
              <a:defRPr sz="900" b="0" i="1">
                <a:solidFill>
                  <a:srgbClr val="66594C"/>
                </a:solidFill>
                <a:latin typeface="Apex New Medium Italic" panose="02010600040501010103" pitchFamily="2" charset="77"/>
                <a:ea typeface="Apex New Medium Italic" panose="02010600040501010103" pitchFamily="2" charset="77"/>
              </a:defRPr>
            </a:lvl1pPr>
          </a:lstStyle>
          <a:p>
            <a:pPr lvl="0"/>
            <a:r>
              <a:rPr lang="en-GB"/>
              <a:t>Click to edit master text styles.  </a:t>
            </a:r>
          </a:p>
        </p:txBody>
      </p:sp>
    </p:spTree>
    <p:extLst>
      <p:ext uri="{BB962C8B-B14F-4D97-AF65-F5344CB8AC3E}">
        <p14:creationId xmlns:p14="http://schemas.microsoft.com/office/powerpoint/2010/main" val="13052392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4E62448-174A-A466-FFFC-726AD16245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7820E3CC-DF6C-09AC-D76A-4F15CB3254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5" y="831283"/>
            <a:ext cx="5889053" cy="410136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</p:spTree>
    <p:extLst>
      <p:ext uri="{BB962C8B-B14F-4D97-AF65-F5344CB8AC3E}">
        <p14:creationId xmlns:p14="http://schemas.microsoft.com/office/powerpoint/2010/main" val="31971042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83867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5037CE3-375D-2BB2-1C58-73F4A24152B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9356F0B1-A2E8-1558-F23B-6FD74C52E4B8}"/>
              </a:ext>
            </a:extLst>
          </p:cNvPr>
          <p:cNvSpPr/>
          <p:nvPr userDrawn="1"/>
        </p:nvSpPr>
        <p:spPr>
          <a:xfrm>
            <a:off x="11521842" y="6474757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325288-7D19-894A-52D8-9A820BF0B847}"/>
              </a:ext>
            </a:extLst>
          </p:cNvPr>
          <p:cNvSpPr/>
          <p:nvPr userDrawn="1"/>
        </p:nvSpPr>
        <p:spPr>
          <a:xfrm>
            <a:off x="11588593" y="65348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>
              <a:solidFill>
                <a:schemeClr val="bg1"/>
              </a:solidFill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958172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5037CE3-375D-2BB2-1C58-73F4A24152BA}"/>
              </a:ext>
            </a:extLst>
          </p:cNvPr>
          <p:cNvSpPr/>
          <p:nvPr userDrawn="1"/>
        </p:nvSpPr>
        <p:spPr>
          <a:xfrm>
            <a:off x="0" y="0"/>
            <a:ext cx="12192000" cy="603754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7348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7456" y="1783669"/>
            <a:ext cx="4581382" cy="430887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4" name="object 28">
            <a:extLst>
              <a:ext uri="{FF2B5EF4-FFF2-40B4-BE49-F238E27FC236}">
                <a16:creationId xmlns:a16="http://schemas.microsoft.com/office/drawing/2014/main" id="{B1EBB989-00E3-D6D3-BA22-415DE9325BC0}"/>
              </a:ext>
            </a:extLst>
          </p:cNvPr>
          <p:cNvSpPr/>
          <p:nvPr userDrawn="1"/>
        </p:nvSpPr>
        <p:spPr>
          <a:xfrm>
            <a:off x="10366157" y="638781"/>
            <a:ext cx="370938" cy="2141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"/>
                </a:lnTo>
                <a:lnTo>
                  <a:pt x="7201" y="21600"/>
                </a:lnTo>
                <a:lnTo>
                  <a:pt x="1440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85BD3E"/>
          </a:solidFill>
          <a:ln w="12700" cap="flat">
            <a:noFill/>
            <a:miter lim="400000"/>
          </a:ln>
          <a:effectLst/>
        </p:spPr>
        <p:txBody>
          <a:bodyPr wrap="square" lIns="45718" tIns="45718" rIns="45718" bIns="45718" numCol="1" anchor="t">
            <a:noAutofit/>
          </a:bodyPr>
          <a:lstStyle/>
          <a:p>
            <a:pPr defTabSz="457200">
              <a:defRPr sz="1000">
                <a:latin typeface="Tahoma"/>
                <a:ea typeface="Tahoma"/>
                <a:cs typeface="Tahoma"/>
                <a:sym typeface="Tahoma"/>
              </a:defRPr>
            </a:pPr>
            <a:endParaRPr/>
          </a:p>
        </p:txBody>
      </p:sp>
      <p:sp>
        <p:nvSpPr>
          <p:cNvPr id="65" name="object 29">
            <a:extLst>
              <a:ext uri="{FF2B5EF4-FFF2-40B4-BE49-F238E27FC236}">
                <a16:creationId xmlns:a16="http://schemas.microsoft.com/office/drawing/2014/main" id="{98EDCB58-2F4E-3B5A-F44A-1C6DA9DAE850}"/>
              </a:ext>
            </a:extLst>
          </p:cNvPr>
          <p:cNvSpPr/>
          <p:nvPr userDrawn="1"/>
        </p:nvSpPr>
        <p:spPr>
          <a:xfrm>
            <a:off x="10595698" y="638779"/>
            <a:ext cx="706747" cy="611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18" y="0"/>
                </a:moveTo>
                <a:lnTo>
                  <a:pt x="7021" y="1"/>
                </a:lnTo>
                <a:lnTo>
                  <a:pt x="0" y="14036"/>
                </a:lnTo>
                <a:lnTo>
                  <a:pt x="3782" y="21600"/>
                </a:lnTo>
                <a:lnTo>
                  <a:pt x="10800" y="7560"/>
                </a:lnTo>
                <a:lnTo>
                  <a:pt x="21600" y="7560"/>
                </a:lnTo>
                <a:lnTo>
                  <a:pt x="17818" y="0"/>
                </a:lnTo>
                <a:close/>
              </a:path>
            </a:pathLst>
          </a:custGeom>
          <a:solidFill>
            <a:srgbClr val="E63023"/>
          </a:solidFill>
          <a:ln w="12700" cap="flat">
            <a:noFill/>
            <a:miter lim="400000"/>
          </a:ln>
          <a:effectLst/>
        </p:spPr>
        <p:txBody>
          <a:bodyPr wrap="square" lIns="45718" tIns="45718" rIns="45718" bIns="45718" numCol="1" anchor="t">
            <a:noAutofit/>
          </a:bodyPr>
          <a:lstStyle/>
          <a:p>
            <a:pPr defTabSz="457200">
              <a:defRPr sz="1000">
                <a:latin typeface="Tahoma"/>
                <a:ea typeface="Tahoma"/>
                <a:cs typeface="Tahoma"/>
                <a:sym typeface="Tahoma"/>
              </a:defRPr>
            </a:pPr>
            <a:endParaRPr/>
          </a:p>
        </p:txBody>
      </p:sp>
      <p:grpSp>
        <p:nvGrpSpPr>
          <p:cNvPr id="66" name="object 30">
            <a:extLst>
              <a:ext uri="{FF2B5EF4-FFF2-40B4-BE49-F238E27FC236}">
                <a16:creationId xmlns:a16="http://schemas.microsoft.com/office/drawing/2014/main" id="{A926D28C-6151-8A1C-771F-5FB40DA522E1}"/>
              </a:ext>
            </a:extLst>
          </p:cNvPr>
          <p:cNvGrpSpPr/>
          <p:nvPr userDrawn="1"/>
        </p:nvGrpSpPr>
        <p:grpSpPr>
          <a:xfrm>
            <a:off x="10674915" y="302263"/>
            <a:ext cx="1085947" cy="122368"/>
            <a:chOff x="-1" y="-1"/>
            <a:chExt cx="1085945" cy="122366"/>
          </a:xfrm>
        </p:grpSpPr>
        <p:sp>
          <p:nvSpPr>
            <p:cNvPr id="67" name="Shape">
              <a:extLst>
                <a:ext uri="{FF2B5EF4-FFF2-40B4-BE49-F238E27FC236}">
                  <a16:creationId xmlns:a16="http://schemas.microsoft.com/office/drawing/2014/main" id="{544896C9-285D-6014-B1BE-7DF9F12928BB}"/>
                </a:ext>
              </a:extLst>
            </p:cNvPr>
            <p:cNvSpPr/>
            <p:nvPr/>
          </p:nvSpPr>
          <p:spPr>
            <a:xfrm>
              <a:off x="126364" y="0"/>
              <a:ext cx="106113" cy="1223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85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6229" y="21600"/>
                  </a:lnTo>
                  <a:lnTo>
                    <a:pt x="6229" y="13166"/>
                  </a:lnTo>
                  <a:lnTo>
                    <a:pt x="19299" y="13166"/>
                  </a:lnTo>
                  <a:lnTo>
                    <a:pt x="18631" y="12161"/>
                  </a:lnTo>
                  <a:lnTo>
                    <a:pt x="19931" y="11209"/>
                  </a:lnTo>
                  <a:lnTo>
                    <a:pt x="20931" y="10011"/>
                  </a:lnTo>
                  <a:lnTo>
                    <a:pt x="21573" y="8618"/>
                  </a:lnTo>
                  <a:lnTo>
                    <a:pt x="21600" y="8438"/>
                  </a:lnTo>
                  <a:lnTo>
                    <a:pt x="6229" y="8438"/>
                  </a:lnTo>
                  <a:lnTo>
                    <a:pt x="6229" y="4726"/>
                  </a:lnTo>
                  <a:lnTo>
                    <a:pt x="21473" y="4726"/>
                  </a:lnTo>
                  <a:lnTo>
                    <a:pt x="21240" y="3716"/>
                  </a:lnTo>
                  <a:lnTo>
                    <a:pt x="19741" y="1782"/>
                  </a:lnTo>
                  <a:lnTo>
                    <a:pt x="17515" y="478"/>
                  </a:lnTo>
                  <a:lnTo>
                    <a:pt x="14785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68" name="Shape">
              <a:extLst>
                <a:ext uri="{FF2B5EF4-FFF2-40B4-BE49-F238E27FC236}">
                  <a16:creationId xmlns:a16="http://schemas.microsoft.com/office/drawing/2014/main" id="{C8302F9B-EB15-48F7-EEEB-59A1F87F6CF0}"/>
                </a:ext>
              </a:extLst>
            </p:cNvPr>
            <p:cNvSpPr/>
            <p:nvPr/>
          </p:nvSpPr>
          <p:spPr>
            <a:xfrm>
              <a:off x="190118" y="74581"/>
              <a:ext cx="58626" cy="477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441" y="0"/>
                  </a:moveTo>
                  <a:lnTo>
                    <a:pt x="0" y="0"/>
                  </a:lnTo>
                  <a:lnTo>
                    <a:pt x="10166" y="21600"/>
                  </a:lnTo>
                  <a:lnTo>
                    <a:pt x="21600" y="21600"/>
                  </a:lnTo>
                  <a:lnTo>
                    <a:pt x="11441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69" name="Shape">
              <a:extLst>
                <a:ext uri="{FF2B5EF4-FFF2-40B4-BE49-F238E27FC236}">
                  <a16:creationId xmlns:a16="http://schemas.microsoft.com/office/drawing/2014/main" id="{C7505F4A-52A4-A731-2579-D481529E950E}"/>
                </a:ext>
              </a:extLst>
            </p:cNvPr>
            <p:cNvSpPr/>
            <p:nvPr/>
          </p:nvSpPr>
          <p:spPr>
            <a:xfrm>
              <a:off x="248741" y="0"/>
              <a:ext cx="141120" cy="1223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478" y="0"/>
                  </a:moveTo>
                  <a:lnTo>
                    <a:pt x="9494" y="0"/>
                  </a:lnTo>
                  <a:lnTo>
                    <a:pt x="0" y="21600"/>
                  </a:lnTo>
                  <a:lnTo>
                    <a:pt x="4983" y="21600"/>
                  </a:lnTo>
                  <a:lnTo>
                    <a:pt x="7355" y="16201"/>
                  </a:lnTo>
                  <a:lnTo>
                    <a:pt x="21600" y="16201"/>
                  </a:lnTo>
                  <a:lnTo>
                    <a:pt x="19522" y="11473"/>
                  </a:lnTo>
                  <a:lnTo>
                    <a:pt x="9433" y="11473"/>
                  </a:lnTo>
                  <a:lnTo>
                    <a:pt x="11985" y="5662"/>
                  </a:lnTo>
                  <a:lnTo>
                    <a:pt x="16967" y="5662"/>
                  </a:lnTo>
                  <a:lnTo>
                    <a:pt x="14478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0" name="Shape">
              <a:extLst>
                <a:ext uri="{FF2B5EF4-FFF2-40B4-BE49-F238E27FC236}">
                  <a16:creationId xmlns:a16="http://schemas.microsoft.com/office/drawing/2014/main" id="{8724BFE6-8E91-2C9F-65FD-21D7C62327AB}"/>
                </a:ext>
              </a:extLst>
            </p:cNvPr>
            <p:cNvSpPr/>
            <p:nvPr/>
          </p:nvSpPr>
          <p:spPr>
            <a:xfrm>
              <a:off x="357308" y="91776"/>
              <a:ext cx="48059" cy="305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631" y="0"/>
                  </a:moveTo>
                  <a:lnTo>
                    <a:pt x="0" y="0"/>
                  </a:lnTo>
                  <a:lnTo>
                    <a:pt x="6970" y="21600"/>
                  </a:lnTo>
                  <a:lnTo>
                    <a:pt x="21600" y="21600"/>
                  </a:lnTo>
                  <a:lnTo>
                    <a:pt x="14631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1" name="Shape">
              <a:extLst>
                <a:ext uri="{FF2B5EF4-FFF2-40B4-BE49-F238E27FC236}">
                  <a16:creationId xmlns:a16="http://schemas.microsoft.com/office/drawing/2014/main" id="{E32021AA-A157-65E2-8856-507ECCA20002}"/>
                </a:ext>
              </a:extLst>
            </p:cNvPr>
            <p:cNvSpPr/>
            <p:nvPr/>
          </p:nvSpPr>
          <p:spPr>
            <a:xfrm>
              <a:off x="199408" y="26769"/>
              <a:ext cx="34052" cy="210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82" y="0"/>
                  </a:moveTo>
                  <a:lnTo>
                    <a:pt x="0" y="0"/>
                  </a:lnTo>
                  <a:lnTo>
                    <a:pt x="2183" y="3554"/>
                  </a:lnTo>
                  <a:lnTo>
                    <a:pt x="2232" y="18065"/>
                  </a:lnTo>
                  <a:lnTo>
                    <a:pt x="36" y="21600"/>
                  </a:lnTo>
                  <a:lnTo>
                    <a:pt x="20976" y="21600"/>
                  </a:lnTo>
                  <a:lnTo>
                    <a:pt x="21600" y="13689"/>
                  </a:lnTo>
                  <a:lnTo>
                    <a:pt x="21563" y="7911"/>
                  </a:lnTo>
                  <a:lnTo>
                    <a:pt x="20582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2" name="Shape">
              <a:extLst>
                <a:ext uri="{FF2B5EF4-FFF2-40B4-BE49-F238E27FC236}">
                  <a16:creationId xmlns:a16="http://schemas.microsoft.com/office/drawing/2014/main" id="{F24C6A28-92A7-3887-0C6D-CCEEEE7787B1}"/>
                </a:ext>
              </a:extLst>
            </p:cNvPr>
            <p:cNvSpPr/>
            <p:nvPr/>
          </p:nvSpPr>
          <p:spPr>
            <a:xfrm>
              <a:off x="860477" y="0"/>
              <a:ext cx="99420" cy="1223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6872"/>
                  </a:lnTo>
                  <a:lnTo>
                    <a:pt x="6642" y="16872"/>
                  </a:lnTo>
                  <a:lnTo>
                    <a:pt x="6642" y="13163"/>
                  </a:lnTo>
                  <a:lnTo>
                    <a:pt x="20774" y="13163"/>
                  </a:lnTo>
                  <a:lnTo>
                    <a:pt x="20774" y="8435"/>
                  </a:lnTo>
                  <a:lnTo>
                    <a:pt x="6642" y="8435"/>
                  </a:lnTo>
                  <a:lnTo>
                    <a:pt x="6642" y="4724"/>
                  </a:lnTo>
                  <a:lnTo>
                    <a:pt x="21600" y="4724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3" name="Shape">
              <a:extLst>
                <a:ext uri="{FF2B5EF4-FFF2-40B4-BE49-F238E27FC236}">
                  <a16:creationId xmlns:a16="http://schemas.microsoft.com/office/drawing/2014/main" id="{EF640FF7-233E-D92A-232E-3A552A56ADF8}"/>
                </a:ext>
              </a:extLst>
            </p:cNvPr>
            <p:cNvSpPr/>
            <p:nvPr/>
          </p:nvSpPr>
          <p:spPr>
            <a:xfrm>
              <a:off x="565996" y="91280"/>
              <a:ext cx="112964" cy="308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567" y="0"/>
                  </a:moveTo>
                  <a:lnTo>
                    <a:pt x="0" y="16251"/>
                  </a:lnTo>
                  <a:lnTo>
                    <a:pt x="1542" y="18512"/>
                  </a:lnTo>
                  <a:lnTo>
                    <a:pt x="3155" y="20188"/>
                  </a:lnTo>
                  <a:lnTo>
                    <a:pt x="4833" y="21232"/>
                  </a:lnTo>
                  <a:lnTo>
                    <a:pt x="6569" y="21600"/>
                  </a:lnTo>
                  <a:lnTo>
                    <a:pt x="15330" y="21591"/>
                  </a:lnTo>
                  <a:lnTo>
                    <a:pt x="17889" y="19698"/>
                  </a:lnTo>
                  <a:lnTo>
                    <a:pt x="19976" y="14534"/>
                  </a:lnTo>
                  <a:lnTo>
                    <a:pt x="21381" y="6876"/>
                  </a:lnTo>
                  <a:lnTo>
                    <a:pt x="21600" y="2890"/>
                  </a:lnTo>
                  <a:lnTo>
                    <a:pt x="6569" y="2890"/>
                  </a:lnTo>
                  <a:lnTo>
                    <a:pt x="5519" y="2695"/>
                  </a:lnTo>
                  <a:lnTo>
                    <a:pt x="4498" y="2135"/>
                  </a:lnTo>
                  <a:lnTo>
                    <a:pt x="3512" y="1231"/>
                  </a:lnTo>
                  <a:lnTo>
                    <a:pt x="2567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4" name="Shape">
              <a:extLst>
                <a:ext uri="{FF2B5EF4-FFF2-40B4-BE49-F238E27FC236}">
                  <a16:creationId xmlns:a16="http://schemas.microsoft.com/office/drawing/2014/main" id="{31820EBD-881A-577A-538C-9CFFBC6E2BEF}"/>
                </a:ext>
              </a:extLst>
            </p:cNvPr>
            <p:cNvSpPr/>
            <p:nvPr/>
          </p:nvSpPr>
          <p:spPr>
            <a:xfrm>
              <a:off x="565996" y="-2"/>
              <a:ext cx="114512" cy="954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19" y="0"/>
                  </a:moveTo>
                  <a:lnTo>
                    <a:pt x="6480" y="0"/>
                  </a:lnTo>
                  <a:lnTo>
                    <a:pt x="3954" y="612"/>
                  </a:lnTo>
                  <a:lnTo>
                    <a:pt x="1895" y="2280"/>
                  </a:lnTo>
                  <a:lnTo>
                    <a:pt x="508" y="4756"/>
                  </a:lnTo>
                  <a:lnTo>
                    <a:pt x="0" y="7790"/>
                  </a:lnTo>
                  <a:lnTo>
                    <a:pt x="0" y="9056"/>
                  </a:lnTo>
                  <a:lnTo>
                    <a:pt x="508" y="12090"/>
                  </a:lnTo>
                  <a:lnTo>
                    <a:pt x="1895" y="14567"/>
                  </a:lnTo>
                  <a:lnTo>
                    <a:pt x="3954" y="16237"/>
                  </a:lnTo>
                  <a:lnTo>
                    <a:pt x="6480" y="16849"/>
                  </a:lnTo>
                  <a:lnTo>
                    <a:pt x="15200" y="16849"/>
                  </a:lnTo>
                  <a:lnTo>
                    <a:pt x="15849" y="17627"/>
                  </a:lnTo>
                  <a:lnTo>
                    <a:pt x="15849" y="20817"/>
                  </a:lnTo>
                  <a:lnTo>
                    <a:pt x="15200" y="21597"/>
                  </a:lnTo>
                  <a:lnTo>
                    <a:pt x="6480" y="21600"/>
                  </a:lnTo>
                  <a:lnTo>
                    <a:pt x="21308" y="21600"/>
                  </a:lnTo>
                  <a:lnTo>
                    <a:pt x="21600" y="19856"/>
                  </a:lnTo>
                  <a:lnTo>
                    <a:pt x="21600" y="18587"/>
                  </a:lnTo>
                  <a:lnTo>
                    <a:pt x="21092" y="15556"/>
                  </a:lnTo>
                  <a:lnTo>
                    <a:pt x="19706" y="13081"/>
                  </a:lnTo>
                  <a:lnTo>
                    <a:pt x="17647" y="11412"/>
                  </a:lnTo>
                  <a:lnTo>
                    <a:pt x="15122" y="10800"/>
                  </a:lnTo>
                  <a:lnTo>
                    <a:pt x="6400" y="10800"/>
                  </a:lnTo>
                  <a:lnTo>
                    <a:pt x="5748" y="10021"/>
                  </a:lnTo>
                  <a:lnTo>
                    <a:pt x="5748" y="6828"/>
                  </a:lnTo>
                  <a:lnTo>
                    <a:pt x="6400" y="6049"/>
                  </a:lnTo>
                  <a:lnTo>
                    <a:pt x="18717" y="6049"/>
                  </a:lnTo>
                  <a:lnTo>
                    <a:pt x="18717" y="428"/>
                  </a:lnTo>
                  <a:lnTo>
                    <a:pt x="17876" y="239"/>
                  </a:lnTo>
                  <a:lnTo>
                    <a:pt x="16980" y="106"/>
                  </a:lnTo>
                  <a:lnTo>
                    <a:pt x="16053" y="26"/>
                  </a:lnTo>
                  <a:lnTo>
                    <a:pt x="15119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5" name="Shape">
              <a:extLst>
                <a:ext uri="{FF2B5EF4-FFF2-40B4-BE49-F238E27FC236}">
                  <a16:creationId xmlns:a16="http://schemas.microsoft.com/office/drawing/2014/main" id="{839D6678-0F30-64A0-A81E-3E78472998D1}"/>
                </a:ext>
              </a:extLst>
            </p:cNvPr>
            <p:cNvSpPr/>
            <p:nvPr/>
          </p:nvSpPr>
          <p:spPr>
            <a:xfrm>
              <a:off x="994337" y="0"/>
              <a:ext cx="91608" cy="1223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7216" y="21600"/>
                  </a:lnTo>
                  <a:lnTo>
                    <a:pt x="7216" y="4726"/>
                  </a:lnTo>
                  <a:lnTo>
                    <a:pt x="17951" y="4726"/>
                  </a:lnTo>
                  <a:lnTo>
                    <a:pt x="2160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6" name="Shape">
              <a:extLst>
                <a:ext uri="{FF2B5EF4-FFF2-40B4-BE49-F238E27FC236}">
                  <a16:creationId xmlns:a16="http://schemas.microsoft.com/office/drawing/2014/main" id="{44F57D43-1274-D2C0-24FB-5DEFE496F341}"/>
                </a:ext>
              </a:extLst>
            </p:cNvPr>
            <p:cNvSpPr/>
            <p:nvPr/>
          </p:nvSpPr>
          <p:spPr>
            <a:xfrm>
              <a:off x="703683" y="0"/>
              <a:ext cx="64625" cy="1223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04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10220" y="21600"/>
                  </a:lnTo>
                  <a:lnTo>
                    <a:pt x="10220" y="7449"/>
                  </a:lnTo>
                  <a:lnTo>
                    <a:pt x="21600" y="7449"/>
                  </a:lnTo>
                  <a:lnTo>
                    <a:pt x="11504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7" name="Shape">
              <a:extLst>
                <a:ext uri="{FF2B5EF4-FFF2-40B4-BE49-F238E27FC236}">
                  <a16:creationId xmlns:a16="http://schemas.microsoft.com/office/drawing/2014/main" id="{6F81D7AA-17FB-529B-7A0D-4526786DD50C}"/>
                </a:ext>
              </a:extLst>
            </p:cNvPr>
            <p:cNvSpPr/>
            <p:nvPr/>
          </p:nvSpPr>
          <p:spPr>
            <a:xfrm>
              <a:off x="734258" y="42198"/>
              <a:ext cx="91805" cy="801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011" y="0"/>
                  </a:moveTo>
                  <a:lnTo>
                    <a:pt x="0" y="0"/>
                  </a:lnTo>
                  <a:lnTo>
                    <a:pt x="13499" y="21600"/>
                  </a:lnTo>
                  <a:lnTo>
                    <a:pt x="21600" y="21600"/>
                  </a:lnTo>
                  <a:lnTo>
                    <a:pt x="21600" y="10229"/>
                  </a:lnTo>
                  <a:lnTo>
                    <a:pt x="14404" y="10229"/>
                  </a:lnTo>
                  <a:lnTo>
                    <a:pt x="8011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8" name="Rectangle">
              <a:extLst>
                <a:ext uri="{FF2B5EF4-FFF2-40B4-BE49-F238E27FC236}">
                  <a16:creationId xmlns:a16="http://schemas.microsoft.com/office/drawing/2014/main" id="{04E90E31-0D44-6060-18C4-04EDB2173C6A}"/>
                </a:ext>
              </a:extLst>
            </p:cNvPr>
            <p:cNvSpPr/>
            <p:nvPr/>
          </p:nvSpPr>
          <p:spPr>
            <a:xfrm>
              <a:off x="795478" y="113"/>
              <a:ext cx="30585" cy="80052"/>
            </a:xfrm>
            <a:prstGeom prst="rect">
              <a:avLst/>
            </a:pr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9" name="Rectangle">
              <a:extLst>
                <a:ext uri="{FF2B5EF4-FFF2-40B4-BE49-F238E27FC236}">
                  <a16:creationId xmlns:a16="http://schemas.microsoft.com/office/drawing/2014/main" id="{5D89FADF-1523-B1B4-0455-FB22C3351AD6}"/>
                </a:ext>
              </a:extLst>
            </p:cNvPr>
            <p:cNvSpPr/>
            <p:nvPr/>
          </p:nvSpPr>
          <p:spPr>
            <a:xfrm>
              <a:off x="61334" y="26769"/>
              <a:ext cx="30610" cy="95595"/>
            </a:xfrm>
            <a:prstGeom prst="rect">
              <a:avLst/>
            </a:pr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80" name="Shape">
              <a:extLst>
                <a:ext uri="{FF2B5EF4-FFF2-40B4-BE49-F238E27FC236}">
                  <a16:creationId xmlns:a16="http://schemas.microsoft.com/office/drawing/2014/main" id="{6506568C-06B3-AC1A-BA33-32969259AE1A}"/>
                </a:ext>
              </a:extLst>
            </p:cNvPr>
            <p:cNvSpPr/>
            <p:nvPr/>
          </p:nvSpPr>
          <p:spPr>
            <a:xfrm>
              <a:off x="-2" y="-2"/>
              <a:ext cx="91946" cy="267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5"/>
                  </a:lnTo>
                  <a:lnTo>
                    <a:pt x="3633" y="21600"/>
                  </a:lnTo>
                  <a:lnTo>
                    <a:pt x="21600" y="2159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81" name="Shape">
              <a:extLst>
                <a:ext uri="{FF2B5EF4-FFF2-40B4-BE49-F238E27FC236}">
                  <a16:creationId xmlns:a16="http://schemas.microsoft.com/office/drawing/2014/main" id="{EA0F79C9-CBA1-A18E-DCC7-95CB7571CCA2}"/>
                </a:ext>
              </a:extLst>
            </p:cNvPr>
            <p:cNvSpPr/>
            <p:nvPr/>
          </p:nvSpPr>
          <p:spPr>
            <a:xfrm>
              <a:off x="416838" y="0"/>
              <a:ext cx="64618" cy="1223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04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10221" y="21600"/>
                  </a:lnTo>
                  <a:lnTo>
                    <a:pt x="10221" y="7449"/>
                  </a:lnTo>
                  <a:lnTo>
                    <a:pt x="21600" y="7449"/>
                  </a:lnTo>
                  <a:lnTo>
                    <a:pt x="11504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82" name="Shape">
              <a:extLst>
                <a:ext uri="{FF2B5EF4-FFF2-40B4-BE49-F238E27FC236}">
                  <a16:creationId xmlns:a16="http://schemas.microsoft.com/office/drawing/2014/main" id="{BBEA2834-1BDD-72F8-16D6-01C8FCEAC800}"/>
                </a:ext>
              </a:extLst>
            </p:cNvPr>
            <p:cNvSpPr/>
            <p:nvPr/>
          </p:nvSpPr>
          <p:spPr>
            <a:xfrm>
              <a:off x="447414" y="42198"/>
              <a:ext cx="91807" cy="801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008" y="0"/>
                  </a:moveTo>
                  <a:lnTo>
                    <a:pt x="0" y="0"/>
                  </a:lnTo>
                  <a:lnTo>
                    <a:pt x="13499" y="21600"/>
                  </a:lnTo>
                  <a:lnTo>
                    <a:pt x="21600" y="21600"/>
                  </a:lnTo>
                  <a:lnTo>
                    <a:pt x="21600" y="10229"/>
                  </a:lnTo>
                  <a:lnTo>
                    <a:pt x="14401" y="10229"/>
                  </a:lnTo>
                  <a:lnTo>
                    <a:pt x="8008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83" name="Rectangle">
              <a:extLst>
                <a:ext uri="{FF2B5EF4-FFF2-40B4-BE49-F238E27FC236}">
                  <a16:creationId xmlns:a16="http://schemas.microsoft.com/office/drawing/2014/main" id="{598A435C-4928-5DBD-8DD2-98FE25DC2D87}"/>
                </a:ext>
              </a:extLst>
            </p:cNvPr>
            <p:cNvSpPr/>
            <p:nvPr/>
          </p:nvSpPr>
          <p:spPr>
            <a:xfrm>
              <a:off x="508623" y="113"/>
              <a:ext cx="30598" cy="80052"/>
            </a:xfrm>
            <a:prstGeom prst="rect">
              <a:avLst/>
            </a:pr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</p:grp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47456" y="2728306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9383083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 descr="A desk with technical drawings, pencil and tools">
            <a:extLst>
              <a:ext uri="{FF2B5EF4-FFF2-40B4-BE49-F238E27FC236}">
                <a16:creationId xmlns:a16="http://schemas.microsoft.com/office/drawing/2014/main" id="{34BADCB9-88FF-853F-7CB9-967EA4291D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3065186"/>
            <a:ext cx="2735044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3592434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559081"/>
            <a:ext cx="5741486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4" name="object 28">
            <a:extLst>
              <a:ext uri="{FF2B5EF4-FFF2-40B4-BE49-F238E27FC236}">
                <a16:creationId xmlns:a16="http://schemas.microsoft.com/office/drawing/2014/main" id="{B1EBB989-00E3-D6D3-BA22-415DE9325BC0}"/>
              </a:ext>
            </a:extLst>
          </p:cNvPr>
          <p:cNvSpPr/>
          <p:nvPr userDrawn="1"/>
        </p:nvSpPr>
        <p:spPr>
          <a:xfrm>
            <a:off x="10366157" y="638781"/>
            <a:ext cx="370938" cy="2141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"/>
                </a:lnTo>
                <a:lnTo>
                  <a:pt x="7201" y="21600"/>
                </a:lnTo>
                <a:lnTo>
                  <a:pt x="1440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85BD3E"/>
          </a:solidFill>
          <a:ln w="12700" cap="flat">
            <a:noFill/>
            <a:miter lim="400000"/>
          </a:ln>
          <a:effectLst/>
        </p:spPr>
        <p:txBody>
          <a:bodyPr wrap="square" lIns="45718" tIns="45718" rIns="45718" bIns="45718" numCol="1" anchor="t">
            <a:noAutofit/>
          </a:bodyPr>
          <a:lstStyle/>
          <a:p>
            <a:pPr defTabSz="457200">
              <a:defRPr sz="1000">
                <a:latin typeface="Tahoma"/>
                <a:ea typeface="Tahoma"/>
                <a:cs typeface="Tahoma"/>
                <a:sym typeface="Tahoma"/>
              </a:defRPr>
            </a:pPr>
            <a:endParaRPr/>
          </a:p>
        </p:txBody>
      </p:sp>
      <p:sp>
        <p:nvSpPr>
          <p:cNvPr id="65" name="object 29">
            <a:extLst>
              <a:ext uri="{FF2B5EF4-FFF2-40B4-BE49-F238E27FC236}">
                <a16:creationId xmlns:a16="http://schemas.microsoft.com/office/drawing/2014/main" id="{98EDCB58-2F4E-3B5A-F44A-1C6DA9DAE850}"/>
              </a:ext>
            </a:extLst>
          </p:cNvPr>
          <p:cNvSpPr/>
          <p:nvPr userDrawn="1"/>
        </p:nvSpPr>
        <p:spPr>
          <a:xfrm>
            <a:off x="10595698" y="638779"/>
            <a:ext cx="706747" cy="611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18" y="0"/>
                </a:moveTo>
                <a:lnTo>
                  <a:pt x="7021" y="1"/>
                </a:lnTo>
                <a:lnTo>
                  <a:pt x="0" y="14036"/>
                </a:lnTo>
                <a:lnTo>
                  <a:pt x="3782" y="21600"/>
                </a:lnTo>
                <a:lnTo>
                  <a:pt x="10800" y="7560"/>
                </a:lnTo>
                <a:lnTo>
                  <a:pt x="21600" y="7560"/>
                </a:lnTo>
                <a:lnTo>
                  <a:pt x="17818" y="0"/>
                </a:lnTo>
                <a:close/>
              </a:path>
            </a:pathLst>
          </a:custGeom>
          <a:solidFill>
            <a:srgbClr val="E63023"/>
          </a:solidFill>
          <a:ln w="12700" cap="flat">
            <a:noFill/>
            <a:miter lim="400000"/>
          </a:ln>
          <a:effectLst/>
        </p:spPr>
        <p:txBody>
          <a:bodyPr wrap="square" lIns="45718" tIns="45718" rIns="45718" bIns="45718" numCol="1" anchor="t">
            <a:noAutofit/>
          </a:bodyPr>
          <a:lstStyle/>
          <a:p>
            <a:pPr defTabSz="457200">
              <a:defRPr sz="1000">
                <a:latin typeface="Tahoma"/>
                <a:ea typeface="Tahoma"/>
                <a:cs typeface="Tahoma"/>
                <a:sym typeface="Tahoma"/>
              </a:defRPr>
            </a:pPr>
            <a:endParaRPr/>
          </a:p>
        </p:txBody>
      </p:sp>
      <p:grpSp>
        <p:nvGrpSpPr>
          <p:cNvPr id="66" name="object 30">
            <a:extLst>
              <a:ext uri="{FF2B5EF4-FFF2-40B4-BE49-F238E27FC236}">
                <a16:creationId xmlns:a16="http://schemas.microsoft.com/office/drawing/2014/main" id="{A926D28C-6151-8A1C-771F-5FB40DA522E1}"/>
              </a:ext>
            </a:extLst>
          </p:cNvPr>
          <p:cNvGrpSpPr/>
          <p:nvPr userDrawn="1"/>
        </p:nvGrpSpPr>
        <p:grpSpPr>
          <a:xfrm>
            <a:off x="10674915" y="302263"/>
            <a:ext cx="1085947" cy="122368"/>
            <a:chOff x="-1" y="-1"/>
            <a:chExt cx="1085945" cy="122366"/>
          </a:xfrm>
        </p:grpSpPr>
        <p:sp>
          <p:nvSpPr>
            <p:cNvPr id="67" name="Shape">
              <a:extLst>
                <a:ext uri="{FF2B5EF4-FFF2-40B4-BE49-F238E27FC236}">
                  <a16:creationId xmlns:a16="http://schemas.microsoft.com/office/drawing/2014/main" id="{544896C9-285D-6014-B1BE-7DF9F12928BB}"/>
                </a:ext>
              </a:extLst>
            </p:cNvPr>
            <p:cNvSpPr/>
            <p:nvPr/>
          </p:nvSpPr>
          <p:spPr>
            <a:xfrm>
              <a:off x="126364" y="0"/>
              <a:ext cx="106113" cy="1223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85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6229" y="21600"/>
                  </a:lnTo>
                  <a:lnTo>
                    <a:pt x="6229" y="13166"/>
                  </a:lnTo>
                  <a:lnTo>
                    <a:pt x="19299" y="13166"/>
                  </a:lnTo>
                  <a:lnTo>
                    <a:pt x="18631" y="12161"/>
                  </a:lnTo>
                  <a:lnTo>
                    <a:pt x="19931" y="11209"/>
                  </a:lnTo>
                  <a:lnTo>
                    <a:pt x="20931" y="10011"/>
                  </a:lnTo>
                  <a:lnTo>
                    <a:pt x="21573" y="8618"/>
                  </a:lnTo>
                  <a:lnTo>
                    <a:pt x="21600" y="8438"/>
                  </a:lnTo>
                  <a:lnTo>
                    <a:pt x="6229" y="8438"/>
                  </a:lnTo>
                  <a:lnTo>
                    <a:pt x="6229" y="4726"/>
                  </a:lnTo>
                  <a:lnTo>
                    <a:pt x="21473" y="4726"/>
                  </a:lnTo>
                  <a:lnTo>
                    <a:pt x="21240" y="3716"/>
                  </a:lnTo>
                  <a:lnTo>
                    <a:pt x="19741" y="1782"/>
                  </a:lnTo>
                  <a:lnTo>
                    <a:pt x="17515" y="478"/>
                  </a:lnTo>
                  <a:lnTo>
                    <a:pt x="14785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68" name="Shape">
              <a:extLst>
                <a:ext uri="{FF2B5EF4-FFF2-40B4-BE49-F238E27FC236}">
                  <a16:creationId xmlns:a16="http://schemas.microsoft.com/office/drawing/2014/main" id="{C8302F9B-EB15-48F7-EEEB-59A1F87F6CF0}"/>
                </a:ext>
              </a:extLst>
            </p:cNvPr>
            <p:cNvSpPr/>
            <p:nvPr/>
          </p:nvSpPr>
          <p:spPr>
            <a:xfrm>
              <a:off x="190118" y="74581"/>
              <a:ext cx="58626" cy="477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441" y="0"/>
                  </a:moveTo>
                  <a:lnTo>
                    <a:pt x="0" y="0"/>
                  </a:lnTo>
                  <a:lnTo>
                    <a:pt x="10166" y="21600"/>
                  </a:lnTo>
                  <a:lnTo>
                    <a:pt x="21600" y="21600"/>
                  </a:lnTo>
                  <a:lnTo>
                    <a:pt x="11441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69" name="Shape">
              <a:extLst>
                <a:ext uri="{FF2B5EF4-FFF2-40B4-BE49-F238E27FC236}">
                  <a16:creationId xmlns:a16="http://schemas.microsoft.com/office/drawing/2014/main" id="{C7505F4A-52A4-A731-2579-D481529E950E}"/>
                </a:ext>
              </a:extLst>
            </p:cNvPr>
            <p:cNvSpPr/>
            <p:nvPr/>
          </p:nvSpPr>
          <p:spPr>
            <a:xfrm>
              <a:off x="248741" y="0"/>
              <a:ext cx="141120" cy="1223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478" y="0"/>
                  </a:moveTo>
                  <a:lnTo>
                    <a:pt x="9494" y="0"/>
                  </a:lnTo>
                  <a:lnTo>
                    <a:pt x="0" y="21600"/>
                  </a:lnTo>
                  <a:lnTo>
                    <a:pt x="4983" y="21600"/>
                  </a:lnTo>
                  <a:lnTo>
                    <a:pt x="7355" y="16201"/>
                  </a:lnTo>
                  <a:lnTo>
                    <a:pt x="21600" y="16201"/>
                  </a:lnTo>
                  <a:lnTo>
                    <a:pt x="19522" y="11473"/>
                  </a:lnTo>
                  <a:lnTo>
                    <a:pt x="9433" y="11473"/>
                  </a:lnTo>
                  <a:lnTo>
                    <a:pt x="11985" y="5662"/>
                  </a:lnTo>
                  <a:lnTo>
                    <a:pt x="16967" y="5662"/>
                  </a:lnTo>
                  <a:lnTo>
                    <a:pt x="14478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0" name="Shape">
              <a:extLst>
                <a:ext uri="{FF2B5EF4-FFF2-40B4-BE49-F238E27FC236}">
                  <a16:creationId xmlns:a16="http://schemas.microsoft.com/office/drawing/2014/main" id="{8724BFE6-8E91-2C9F-65FD-21D7C62327AB}"/>
                </a:ext>
              </a:extLst>
            </p:cNvPr>
            <p:cNvSpPr/>
            <p:nvPr/>
          </p:nvSpPr>
          <p:spPr>
            <a:xfrm>
              <a:off x="357308" y="91776"/>
              <a:ext cx="48059" cy="305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631" y="0"/>
                  </a:moveTo>
                  <a:lnTo>
                    <a:pt x="0" y="0"/>
                  </a:lnTo>
                  <a:lnTo>
                    <a:pt x="6970" y="21600"/>
                  </a:lnTo>
                  <a:lnTo>
                    <a:pt x="21600" y="21600"/>
                  </a:lnTo>
                  <a:lnTo>
                    <a:pt x="14631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1" name="Shape">
              <a:extLst>
                <a:ext uri="{FF2B5EF4-FFF2-40B4-BE49-F238E27FC236}">
                  <a16:creationId xmlns:a16="http://schemas.microsoft.com/office/drawing/2014/main" id="{E32021AA-A157-65E2-8856-507ECCA20002}"/>
                </a:ext>
              </a:extLst>
            </p:cNvPr>
            <p:cNvSpPr/>
            <p:nvPr/>
          </p:nvSpPr>
          <p:spPr>
            <a:xfrm>
              <a:off x="199408" y="26769"/>
              <a:ext cx="34052" cy="210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82" y="0"/>
                  </a:moveTo>
                  <a:lnTo>
                    <a:pt x="0" y="0"/>
                  </a:lnTo>
                  <a:lnTo>
                    <a:pt x="2183" y="3554"/>
                  </a:lnTo>
                  <a:lnTo>
                    <a:pt x="2232" y="18065"/>
                  </a:lnTo>
                  <a:lnTo>
                    <a:pt x="36" y="21600"/>
                  </a:lnTo>
                  <a:lnTo>
                    <a:pt x="20976" y="21600"/>
                  </a:lnTo>
                  <a:lnTo>
                    <a:pt x="21600" y="13689"/>
                  </a:lnTo>
                  <a:lnTo>
                    <a:pt x="21563" y="7911"/>
                  </a:lnTo>
                  <a:lnTo>
                    <a:pt x="20582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2" name="Shape">
              <a:extLst>
                <a:ext uri="{FF2B5EF4-FFF2-40B4-BE49-F238E27FC236}">
                  <a16:creationId xmlns:a16="http://schemas.microsoft.com/office/drawing/2014/main" id="{F24C6A28-92A7-3887-0C6D-CCEEEE7787B1}"/>
                </a:ext>
              </a:extLst>
            </p:cNvPr>
            <p:cNvSpPr/>
            <p:nvPr/>
          </p:nvSpPr>
          <p:spPr>
            <a:xfrm>
              <a:off x="860477" y="0"/>
              <a:ext cx="99420" cy="1223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6872"/>
                  </a:lnTo>
                  <a:lnTo>
                    <a:pt x="6642" y="16872"/>
                  </a:lnTo>
                  <a:lnTo>
                    <a:pt x="6642" y="13163"/>
                  </a:lnTo>
                  <a:lnTo>
                    <a:pt x="20774" y="13163"/>
                  </a:lnTo>
                  <a:lnTo>
                    <a:pt x="20774" y="8435"/>
                  </a:lnTo>
                  <a:lnTo>
                    <a:pt x="6642" y="8435"/>
                  </a:lnTo>
                  <a:lnTo>
                    <a:pt x="6642" y="4724"/>
                  </a:lnTo>
                  <a:lnTo>
                    <a:pt x="21600" y="4724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3" name="Shape">
              <a:extLst>
                <a:ext uri="{FF2B5EF4-FFF2-40B4-BE49-F238E27FC236}">
                  <a16:creationId xmlns:a16="http://schemas.microsoft.com/office/drawing/2014/main" id="{EF640FF7-233E-D92A-232E-3A552A56ADF8}"/>
                </a:ext>
              </a:extLst>
            </p:cNvPr>
            <p:cNvSpPr/>
            <p:nvPr/>
          </p:nvSpPr>
          <p:spPr>
            <a:xfrm>
              <a:off x="565996" y="91280"/>
              <a:ext cx="112964" cy="308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567" y="0"/>
                  </a:moveTo>
                  <a:lnTo>
                    <a:pt x="0" y="16251"/>
                  </a:lnTo>
                  <a:lnTo>
                    <a:pt x="1542" y="18512"/>
                  </a:lnTo>
                  <a:lnTo>
                    <a:pt x="3155" y="20188"/>
                  </a:lnTo>
                  <a:lnTo>
                    <a:pt x="4833" y="21232"/>
                  </a:lnTo>
                  <a:lnTo>
                    <a:pt x="6569" y="21600"/>
                  </a:lnTo>
                  <a:lnTo>
                    <a:pt x="15330" y="21591"/>
                  </a:lnTo>
                  <a:lnTo>
                    <a:pt x="17889" y="19698"/>
                  </a:lnTo>
                  <a:lnTo>
                    <a:pt x="19976" y="14534"/>
                  </a:lnTo>
                  <a:lnTo>
                    <a:pt x="21381" y="6876"/>
                  </a:lnTo>
                  <a:lnTo>
                    <a:pt x="21600" y="2890"/>
                  </a:lnTo>
                  <a:lnTo>
                    <a:pt x="6569" y="2890"/>
                  </a:lnTo>
                  <a:lnTo>
                    <a:pt x="5519" y="2695"/>
                  </a:lnTo>
                  <a:lnTo>
                    <a:pt x="4498" y="2135"/>
                  </a:lnTo>
                  <a:lnTo>
                    <a:pt x="3512" y="1231"/>
                  </a:lnTo>
                  <a:lnTo>
                    <a:pt x="2567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4" name="Shape">
              <a:extLst>
                <a:ext uri="{FF2B5EF4-FFF2-40B4-BE49-F238E27FC236}">
                  <a16:creationId xmlns:a16="http://schemas.microsoft.com/office/drawing/2014/main" id="{31820EBD-881A-577A-538C-9CFFBC6E2BEF}"/>
                </a:ext>
              </a:extLst>
            </p:cNvPr>
            <p:cNvSpPr/>
            <p:nvPr/>
          </p:nvSpPr>
          <p:spPr>
            <a:xfrm>
              <a:off x="565996" y="-2"/>
              <a:ext cx="114512" cy="954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19" y="0"/>
                  </a:moveTo>
                  <a:lnTo>
                    <a:pt x="6480" y="0"/>
                  </a:lnTo>
                  <a:lnTo>
                    <a:pt x="3954" y="612"/>
                  </a:lnTo>
                  <a:lnTo>
                    <a:pt x="1895" y="2280"/>
                  </a:lnTo>
                  <a:lnTo>
                    <a:pt x="508" y="4756"/>
                  </a:lnTo>
                  <a:lnTo>
                    <a:pt x="0" y="7790"/>
                  </a:lnTo>
                  <a:lnTo>
                    <a:pt x="0" y="9056"/>
                  </a:lnTo>
                  <a:lnTo>
                    <a:pt x="508" y="12090"/>
                  </a:lnTo>
                  <a:lnTo>
                    <a:pt x="1895" y="14567"/>
                  </a:lnTo>
                  <a:lnTo>
                    <a:pt x="3954" y="16237"/>
                  </a:lnTo>
                  <a:lnTo>
                    <a:pt x="6480" y="16849"/>
                  </a:lnTo>
                  <a:lnTo>
                    <a:pt x="15200" y="16849"/>
                  </a:lnTo>
                  <a:lnTo>
                    <a:pt x="15849" y="17627"/>
                  </a:lnTo>
                  <a:lnTo>
                    <a:pt x="15849" y="20817"/>
                  </a:lnTo>
                  <a:lnTo>
                    <a:pt x="15200" y="21597"/>
                  </a:lnTo>
                  <a:lnTo>
                    <a:pt x="6480" y="21600"/>
                  </a:lnTo>
                  <a:lnTo>
                    <a:pt x="21308" y="21600"/>
                  </a:lnTo>
                  <a:lnTo>
                    <a:pt x="21600" y="19856"/>
                  </a:lnTo>
                  <a:lnTo>
                    <a:pt x="21600" y="18587"/>
                  </a:lnTo>
                  <a:lnTo>
                    <a:pt x="21092" y="15556"/>
                  </a:lnTo>
                  <a:lnTo>
                    <a:pt x="19706" y="13081"/>
                  </a:lnTo>
                  <a:lnTo>
                    <a:pt x="17647" y="11412"/>
                  </a:lnTo>
                  <a:lnTo>
                    <a:pt x="15122" y="10800"/>
                  </a:lnTo>
                  <a:lnTo>
                    <a:pt x="6400" y="10800"/>
                  </a:lnTo>
                  <a:lnTo>
                    <a:pt x="5748" y="10021"/>
                  </a:lnTo>
                  <a:lnTo>
                    <a:pt x="5748" y="6828"/>
                  </a:lnTo>
                  <a:lnTo>
                    <a:pt x="6400" y="6049"/>
                  </a:lnTo>
                  <a:lnTo>
                    <a:pt x="18717" y="6049"/>
                  </a:lnTo>
                  <a:lnTo>
                    <a:pt x="18717" y="428"/>
                  </a:lnTo>
                  <a:lnTo>
                    <a:pt x="17876" y="239"/>
                  </a:lnTo>
                  <a:lnTo>
                    <a:pt x="16980" y="106"/>
                  </a:lnTo>
                  <a:lnTo>
                    <a:pt x="16053" y="26"/>
                  </a:lnTo>
                  <a:lnTo>
                    <a:pt x="15119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5" name="Shape">
              <a:extLst>
                <a:ext uri="{FF2B5EF4-FFF2-40B4-BE49-F238E27FC236}">
                  <a16:creationId xmlns:a16="http://schemas.microsoft.com/office/drawing/2014/main" id="{839D6678-0F30-64A0-A81E-3E78472998D1}"/>
                </a:ext>
              </a:extLst>
            </p:cNvPr>
            <p:cNvSpPr/>
            <p:nvPr/>
          </p:nvSpPr>
          <p:spPr>
            <a:xfrm>
              <a:off x="994337" y="0"/>
              <a:ext cx="91608" cy="1223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7216" y="21600"/>
                  </a:lnTo>
                  <a:lnTo>
                    <a:pt x="7216" y="4726"/>
                  </a:lnTo>
                  <a:lnTo>
                    <a:pt x="17951" y="4726"/>
                  </a:lnTo>
                  <a:lnTo>
                    <a:pt x="2160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6" name="Shape">
              <a:extLst>
                <a:ext uri="{FF2B5EF4-FFF2-40B4-BE49-F238E27FC236}">
                  <a16:creationId xmlns:a16="http://schemas.microsoft.com/office/drawing/2014/main" id="{44F57D43-1274-D2C0-24FB-5DEFE496F341}"/>
                </a:ext>
              </a:extLst>
            </p:cNvPr>
            <p:cNvSpPr/>
            <p:nvPr/>
          </p:nvSpPr>
          <p:spPr>
            <a:xfrm>
              <a:off x="703683" y="0"/>
              <a:ext cx="64625" cy="1223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04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10220" y="21600"/>
                  </a:lnTo>
                  <a:lnTo>
                    <a:pt x="10220" y="7449"/>
                  </a:lnTo>
                  <a:lnTo>
                    <a:pt x="21600" y="7449"/>
                  </a:lnTo>
                  <a:lnTo>
                    <a:pt x="11504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7" name="Shape">
              <a:extLst>
                <a:ext uri="{FF2B5EF4-FFF2-40B4-BE49-F238E27FC236}">
                  <a16:creationId xmlns:a16="http://schemas.microsoft.com/office/drawing/2014/main" id="{6F81D7AA-17FB-529B-7A0D-4526786DD50C}"/>
                </a:ext>
              </a:extLst>
            </p:cNvPr>
            <p:cNvSpPr/>
            <p:nvPr/>
          </p:nvSpPr>
          <p:spPr>
            <a:xfrm>
              <a:off x="734258" y="42198"/>
              <a:ext cx="91805" cy="801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011" y="0"/>
                  </a:moveTo>
                  <a:lnTo>
                    <a:pt x="0" y="0"/>
                  </a:lnTo>
                  <a:lnTo>
                    <a:pt x="13499" y="21600"/>
                  </a:lnTo>
                  <a:lnTo>
                    <a:pt x="21600" y="21600"/>
                  </a:lnTo>
                  <a:lnTo>
                    <a:pt x="21600" y="10229"/>
                  </a:lnTo>
                  <a:lnTo>
                    <a:pt x="14404" y="10229"/>
                  </a:lnTo>
                  <a:lnTo>
                    <a:pt x="8011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8" name="Rectangle">
              <a:extLst>
                <a:ext uri="{FF2B5EF4-FFF2-40B4-BE49-F238E27FC236}">
                  <a16:creationId xmlns:a16="http://schemas.microsoft.com/office/drawing/2014/main" id="{04E90E31-0D44-6060-18C4-04EDB2173C6A}"/>
                </a:ext>
              </a:extLst>
            </p:cNvPr>
            <p:cNvSpPr/>
            <p:nvPr/>
          </p:nvSpPr>
          <p:spPr>
            <a:xfrm>
              <a:off x="795478" y="113"/>
              <a:ext cx="30585" cy="80052"/>
            </a:xfrm>
            <a:prstGeom prst="rect">
              <a:avLst/>
            </a:pr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79" name="Rectangle">
              <a:extLst>
                <a:ext uri="{FF2B5EF4-FFF2-40B4-BE49-F238E27FC236}">
                  <a16:creationId xmlns:a16="http://schemas.microsoft.com/office/drawing/2014/main" id="{5D89FADF-1523-B1B4-0455-FB22C3351AD6}"/>
                </a:ext>
              </a:extLst>
            </p:cNvPr>
            <p:cNvSpPr/>
            <p:nvPr/>
          </p:nvSpPr>
          <p:spPr>
            <a:xfrm>
              <a:off x="61334" y="26769"/>
              <a:ext cx="30610" cy="95595"/>
            </a:xfrm>
            <a:prstGeom prst="rect">
              <a:avLst/>
            </a:pr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80" name="Shape">
              <a:extLst>
                <a:ext uri="{FF2B5EF4-FFF2-40B4-BE49-F238E27FC236}">
                  <a16:creationId xmlns:a16="http://schemas.microsoft.com/office/drawing/2014/main" id="{6506568C-06B3-AC1A-BA33-32969259AE1A}"/>
                </a:ext>
              </a:extLst>
            </p:cNvPr>
            <p:cNvSpPr/>
            <p:nvPr/>
          </p:nvSpPr>
          <p:spPr>
            <a:xfrm>
              <a:off x="-2" y="-2"/>
              <a:ext cx="91946" cy="267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5"/>
                  </a:lnTo>
                  <a:lnTo>
                    <a:pt x="3633" y="21600"/>
                  </a:lnTo>
                  <a:lnTo>
                    <a:pt x="21600" y="2159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81" name="Shape">
              <a:extLst>
                <a:ext uri="{FF2B5EF4-FFF2-40B4-BE49-F238E27FC236}">
                  <a16:creationId xmlns:a16="http://schemas.microsoft.com/office/drawing/2014/main" id="{EA0F79C9-CBA1-A18E-DCC7-95CB7571CCA2}"/>
                </a:ext>
              </a:extLst>
            </p:cNvPr>
            <p:cNvSpPr/>
            <p:nvPr/>
          </p:nvSpPr>
          <p:spPr>
            <a:xfrm>
              <a:off x="416838" y="0"/>
              <a:ext cx="64618" cy="1223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04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10221" y="21600"/>
                  </a:lnTo>
                  <a:lnTo>
                    <a:pt x="10221" y="7449"/>
                  </a:lnTo>
                  <a:lnTo>
                    <a:pt x="21600" y="7449"/>
                  </a:lnTo>
                  <a:lnTo>
                    <a:pt x="11504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82" name="Shape">
              <a:extLst>
                <a:ext uri="{FF2B5EF4-FFF2-40B4-BE49-F238E27FC236}">
                  <a16:creationId xmlns:a16="http://schemas.microsoft.com/office/drawing/2014/main" id="{BBEA2834-1BDD-72F8-16D6-01C8FCEAC800}"/>
                </a:ext>
              </a:extLst>
            </p:cNvPr>
            <p:cNvSpPr/>
            <p:nvPr/>
          </p:nvSpPr>
          <p:spPr>
            <a:xfrm>
              <a:off x="447414" y="42198"/>
              <a:ext cx="91807" cy="801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008" y="0"/>
                  </a:moveTo>
                  <a:lnTo>
                    <a:pt x="0" y="0"/>
                  </a:lnTo>
                  <a:lnTo>
                    <a:pt x="13499" y="21600"/>
                  </a:lnTo>
                  <a:lnTo>
                    <a:pt x="21600" y="21600"/>
                  </a:lnTo>
                  <a:lnTo>
                    <a:pt x="21600" y="10229"/>
                  </a:lnTo>
                  <a:lnTo>
                    <a:pt x="14401" y="10229"/>
                  </a:lnTo>
                  <a:lnTo>
                    <a:pt x="8008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83" name="Rectangle">
              <a:extLst>
                <a:ext uri="{FF2B5EF4-FFF2-40B4-BE49-F238E27FC236}">
                  <a16:creationId xmlns:a16="http://schemas.microsoft.com/office/drawing/2014/main" id="{598A435C-4928-5DBD-8DD2-98FE25DC2D87}"/>
                </a:ext>
              </a:extLst>
            </p:cNvPr>
            <p:cNvSpPr/>
            <p:nvPr/>
          </p:nvSpPr>
          <p:spPr>
            <a:xfrm>
              <a:off x="508623" y="113"/>
              <a:ext cx="30598" cy="80052"/>
            </a:xfrm>
            <a:prstGeom prst="rect">
              <a:avLst/>
            </a:pr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</p:grp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5051478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 descr="A desk with technical drawings, pencil and tools">
            <a:extLst>
              <a:ext uri="{FF2B5EF4-FFF2-40B4-BE49-F238E27FC236}">
                <a16:creationId xmlns:a16="http://schemas.microsoft.com/office/drawing/2014/main" id="{34BADCB9-88FF-853F-7CB9-967EA4291D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559081"/>
            <a:ext cx="5741486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735044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3592434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>
            <a:extLst>
              <a:ext uri="{FF2B5EF4-FFF2-40B4-BE49-F238E27FC236}">
                <a16:creationId xmlns:a16="http://schemas.microsoft.com/office/drawing/2014/main" id="{34BADCB9-88FF-853F-7CB9-967EA4291D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6A86DB4-8A0E-5852-A8CA-D1F0D4A0FEF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16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559081"/>
            <a:ext cx="5741486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9222224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15" descr="Aerial view of container ship">
            <a:extLst>
              <a:ext uri="{FF2B5EF4-FFF2-40B4-BE49-F238E27FC236}">
                <a16:creationId xmlns:a16="http://schemas.microsoft.com/office/drawing/2014/main" id="{7B4597E5-7462-D917-B3FC-691CFD46CE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559081"/>
            <a:ext cx="5741486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9484549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EE5FA182-F7DE-7FF9-AF9F-6B97D1F061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559081"/>
            <a:ext cx="5741486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9349273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EE5FA182-F7DE-7FF9-AF9F-6B97D1F061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A525C38-6FFD-DE61-F2F9-A74DA63DDA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2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2532" y="1559081"/>
            <a:ext cx="4205747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1841017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C3784C0-AEDF-10DD-4608-3BD04462041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6932" y="1559081"/>
            <a:ext cx="4561347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sp>
        <p:nvSpPr>
          <p:cNvPr id="3" name="Graphic 4">
            <a:extLst>
              <a:ext uri="{FF2B5EF4-FFF2-40B4-BE49-F238E27FC236}">
                <a16:creationId xmlns:a16="http://schemas.microsoft.com/office/drawing/2014/main" id="{D1BD1A9C-0B6C-5E16-67BF-F46E6D548358}"/>
              </a:ext>
            </a:extLst>
          </p:cNvPr>
          <p:cNvSpPr/>
          <p:nvPr userDrawn="1"/>
        </p:nvSpPr>
        <p:spPr>
          <a:xfrm>
            <a:off x="629600" y="913946"/>
            <a:ext cx="9089796" cy="5365238"/>
          </a:xfrm>
          <a:custGeom>
            <a:avLst/>
            <a:gdLst>
              <a:gd name="connsiteX0" fmla="*/ 2718340 w 6829615"/>
              <a:gd name="connsiteY0" fmla="*/ 4031171 h 4031170"/>
              <a:gd name="connsiteX1" fmla="*/ 2288381 w 6829615"/>
              <a:gd name="connsiteY1" fmla="*/ 4028504 h 4031170"/>
              <a:gd name="connsiteX2" fmla="*/ 1978724 w 6829615"/>
              <a:gd name="connsiteY2" fmla="*/ 3663887 h 4031170"/>
              <a:gd name="connsiteX3" fmla="*/ 1978724 w 6829615"/>
              <a:gd name="connsiteY3" fmla="*/ 3314129 h 4031170"/>
              <a:gd name="connsiteX4" fmla="*/ 1742980 w 6829615"/>
              <a:gd name="connsiteY4" fmla="*/ 2885599 h 4031170"/>
              <a:gd name="connsiteX5" fmla="*/ 1743742 w 6829615"/>
              <a:gd name="connsiteY5" fmla="*/ 2627662 h 4031170"/>
              <a:gd name="connsiteX6" fmla="*/ 1603534 w 6829615"/>
              <a:gd name="connsiteY6" fmla="*/ 2383631 h 4031170"/>
              <a:gd name="connsiteX7" fmla="*/ 1603534 w 6829615"/>
              <a:gd name="connsiteY7" fmla="*/ 1988344 h 4031170"/>
              <a:gd name="connsiteX8" fmla="*/ 1563624 w 6829615"/>
              <a:gd name="connsiteY8" fmla="*/ 1916906 h 4031170"/>
              <a:gd name="connsiteX9" fmla="*/ 1009840 w 6829615"/>
              <a:gd name="connsiteY9" fmla="*/ 1916906 h 4031170"/>
              <a:gd name="connsiteX10" fmla="*/ 947833 w 6829615"/>
              <a:gd name="connsiteY10" fmla="*/ 2024443 h 4031170"/>
              <a:gd name="connsiteX11" fmla="*/ 351282 w 6829615"/>
              <a:gd name="connsiteY11" fmla="*/ 2024443 h 4031170"/>
              <a:gd name="connsiteX12" fmla="*/ 0 w 6829615"/>
              <a:gd name="connsiteY12" fmla="*/ 1478661 h 4031170"/>
              <a:gd name="connsiteX13" fmla="*/ 0 w 6829615"/>
              <a:gd name="connsiteY13" fmla="*/ 860965 h 4031170"/>
              <a:gd name="connsiteX14" fmla="*/ 512636 w 6829615"/>
              <a:gd name="connsiteY14" fmla="*/ 0 h 4031170"/>
              <a:gd name="connsiteX15" fmla="*/ 1361408 w 6829615"/>
              <a:gd name="connsiteY15" fmla="*/ 0 h 4031170"/>
              <a:gd name="connsiteX16" fmla="*/ 1537526 w 6829615"/>
              <a:gd name="connsiteY16" fmla="*/ 290417 h 4031170"/>
              <a:gd name="connsiteX17" fmla="*/ 1638967 w 6829615"/>
              <a:gd name="connsiteY17" fmla="*/ 289751 h 4031170"/>
              <a:gd name="connsiteX18" fmla="*/ 1798130 w 6829615"/>
              <a:gd name="connsiteY18" fmla="*/ 0 h 4031170"/>
              <a:gd name="connsiteX19" fmla="*/ 6829616 w 6829615"/>
              <a:gd name="connsiteY19" fmla="*/ 0 h 4031170"/>
              <a:gd name="connsiteX20" fmla="*/ 6829616 w 6829615"/>
              <a:gd name="connsiteY20" fmla="*/ 161925 h 4031170"/>
              <a:gd name="connsiteX21" fmla="*/ 1893951 w 6829615"/>
              <a:gd name="connsiteY21" fmla="*/ 161925 h 4031170"/>
              <a:gd name="connsiteX22" fmla="*/ 1735169 w 6829615"/>
              <a:gd name="connsiteY22" fmla="*/ 451104 h 4031170"/>
              <a:gd name="connsiteX23" fmla="*/ 1446752 w 6829615"/>
              <a:gd name="connsiteY23" fmla="*/ 452914 h 4031170"/>
              <a:gd name="connsiteX24" fmla="*/ 1270254 w 6829615"/>
              <a:gd name="connsiteY24" fmla="*/ 161925 h 4031170"/>
              <a:gd name="connsiteX25" fmla="*/ 604647 w 6829615"/>
              <a:gd name="connsiteY25" fmla="*/ 161925 h 4031170"/>
              <a:gd name="connsiteX26" fmla="*/ 161925 w 6829615"/>
              <a:gd name="connsiteY26" fmla="*/ 905447 h 4031170"/>
              <a:gd name="connsiteX27" fmla="*/ 161925 w 6829615"/>
              <a:gd name="connsiteY27" fmla="*/ 1431036 h 4031170"/>
              <a:gd name="connsiteX28" fmla="*/ 439674 w 6829615"/>
              <a:gd name="connsiteY28" fmla="*/ 1862518 h 4031170"/>
              <a:gd name="connsiteX29" fmla="*/ 854297 w 6829615"/>
              <a:gd name="connsiteY29" fmla="*/ 1862518 h 4031170"/>
              <a:gd name="connsiteX30" fmla="*/ 916305 w 6829615"/>
              <a:gd name="connsiteY30" fmla="*/ 1754981 h 4031170"/>
              <a:gd name="connsiteX31" fmla="*/ 1658684 w 6829615"/>
              <a:gd name="connsiteY31" fmla="*/ 1754981 h 4031170"/>
              <a:gd name="connsiteX32" fmla="*/ 1765459 w 6829615"/>
              <a:gd name="connsiteY32" fmla="*/ 1946148 h 4031170"/>
              <a:gd name="connsiteX33" fmla="*/ 1765459 w 6829615"/>
              <a:gd name="connsiteY33" fmla="*/ 2340388 h 4031170"/>
              <a:gd name="connsiteX34" fmla="*/ 1905762 w 6829615"/>
              <a:gd name="connsiteY34" fmla="*/ 2584704 h 4031170"/>
              <a:gd name="connsiteX35" fmla="*/ 1905000 w 6829615"/>
              <a:gd name="connsiteY35" fmla="*/ 2844260 h 4031170"/>
              <a:gd name="connsiteX36" fmla="*/ 2140649 w 6829615"/>
              <a:gd name="connsiteY36" fmla="*/ 3272504 h 4031170"/>
              <a:gd name="connsiteX37" fmla="*/ 2140649 w 6829615"/>
              <a:gd name="connsiteY37" fmla="*/ 3604451 h 4031170"/>
              <a:gd name="connsiteX38" fmla="*/ 2363724 w 6829615"/>
              <a:gd name="connsiteY38" fmla="*/ 3867055 h 4031170"/>
              <a:gd name="connsiteX39" fmla="*/ 2627090 w 6829615"/>
              <a:gd name="connsiteY39" fmla="*/ 3868674 h 4031170"/>
              <a:gd name="connsiteX40" fmla="*/ 2764250 w 6829615"/>
              <a:gd name="connsiteY40" fmla="*/ 3640646 h 4031170"/>
              <a:gd name="connsiteX41" fmla="*/ 2764250 w 6829615"/>
              <a:gd name="connsiteY41" fmla="*/ 3422047 h 4031170"/>
              <a:gd name="connsiteX42" fmla="*/ 3150203 w 6829615"/>
              <a:gd name="connsiteY42" fmla="*/ 2817019 h 4031170"/>
              <a:gd name="connsiteX43" fmla="*/ 3150203 w 6829615"/>
              <a:gd name="connsiteY43" fmla="*/ 2411444 h 4031170"/>
              <a:gd name="connsiteX44" fmla="*/ 3374231 w 6829615"/>
              <a:gd name="connsiteY44" fmla="*/ 2058067 h 4031170"/>
              <a:gd name="connsiteX45" fmla="*/ 3595973 w 6829615"/>
              <a:gd name="connsiteY45" fmla="*/ 2060448 h 4031170"/>
              <a:gd name="connsiteX46" fmla="*/ 3872960 w 6829615"/>
              <a:gd name="connsiteY46" fmla="*/ 1576007 h 4031170"/>
              <a:gd name="connsiteX47" fmla="*/ 3284982 w 6829615"/>
              <a:gd name="connsiteY47" fmla="*/ 1576007 h 4031170"/>
              <a:gd name="connsiteX48" fmla="*/ 3057049 w 6829615"/>
              <a:gd name="connsiteY48" fmla="*/ 1184529 h 4031170"/>
              <a:gd name="connsiteX49" fmla="*/ 3057525 w 6829615"/>
              <a:gd name="connsiteY49" fmla="*/ 867728 h 4031170"/>
              <a:gd name="connsiteX50" fmla="*/ 2748724 w 6829615"/>
              <a:gd name="connsiteY50" fmla="*/ 440912 h 4031170"/>
              <a:gd name="connsiteX51" fmla="*/ 2058638 w 6829615"/>
              <a:gd name="connsiteY51" fmla="*/ 440912 h 4031170"/>
              <a:gd name="connsiteX52" fmla="*/ 1873853 w 6829615"/>
              <a:gd name="connsiteY52" fmla="*/ 778097 h 4031170"/>
              <a:gd name="connsiteX53" fmla="*/ 1305116 w 6829615"/>
              <a:gd name="connsiteY53" fmla="*/ 778097 h 4031170"/>
              <a:gd name="connsiteX54" fmla="*/ 1102233 w 6829615"/>
              <a:gd name="connsiteY54" fmla="*/ 431387 h 4031170"/>
              <a:gd name="connsiteX55" fmla="*/ 739426 w 6829615"/>
              <a:gd name="connsiteY55" fmla="*/ 431387 h 4031170"/>
              <a:gd name="connsiteX56" fmla="*/ 421196 w 6829615"/>
              <a:gd name="connsiteY56" fmla="*/ 995077 h 4031170"/>
              <a:gd name="connsiteX57" fmla="*/ 428435 w 6829615"/>
              <a:gd name="connsiteY57" fmla="*/ 1339787 h 4031170"/>
              <a:gd name="connsiteX58" fmla="*/ 598075 w 6829615"/>
              <a:gd name="connsiteY58" fmla="*/ 1584389 h 4031170"/>
              <a:gd name="connsiteX59" fmla="*/ 720471 w 6829615"/>
              <a:gd name="connsiteY59" fmla="*/ 1584389 h 4031170"/>
              <a:gd name="connsiteX60" fmla="*/ 823817 w 6829615"/>
              <a:gd name="connsiteY60" fmla="*/ 1449229 h 4031170"/>
              <a:gd name="connsiteX61" fmla="*/ 1788795 w 6829615"/>
              <a:gd name="connsiteY61" fmla="*/ 1449229 h 4031170"/>
              <a:gd name="connsiteX62" fmla="*/ 2030825 w 6829615"/>
              <a:gd name="connsiteY62" fmla="*/ 1890046 h 4031170"/>
              <a:gd name="connsiteX63" fmla="*/ 2030825 w 6829615"/>
              <a:gd name="connsiteY63" fmla="*/ 2294763 h 4031170"/>
              <a:gd name="connsiteX64" fmla="*/ 2171414 w 6829615"/>
              <a:gd name="connsiteY64" fmla="*/ 2536222 h 4031170"/>
              <a:gd name="connsiteX65" fmla="*/ 2171414 w 6829615"/>
              <a:gd name="connsiteY65" fmla="*/ 2782348 h 4031170"/>
              <a:gd name="connsiteX66" fmla="*/ 2424017 w 6829615"/>
              <a:gd name="connsiteY66" fmla="*/ 3204782 h 4031170"/>
              <a:gd name="connsiteX67" fmla="*/ 2424017 w 6829615"/>
              <a:gd name="connsiteY67" fmla="*/ 3455861 h 4031170"/>
              <a:gd name="connsiteX68" fmla="*/ 2493740 w 6829615"/>
              <a:gd name="connsiteY68" fmla="*/ 3546824 h 4031170"/>
              <a:gd name="connsiteX69" fmla="*/ 2523554 w 6829615"/>
              <a:gd name="connsiteY69" fmla="*/ 3497485 h 4031170"/>
              <a:gd name="connsiteX70" fmla="*/ 2523554 w 6829615"/>
              <a:gd name="connsiteY70" fmla="*/ 3311366 h 4031170"/>
              <a:gd name="connsiteX71" fmla="*/ 2882741 w 6829615"/>
              <a:gd name="connsiteY71" fmla="*/ 2736723 h 4031170"/>
              <a:gd name="connsiteX72" fmla="*/ 2885694 w 6829615"/>
              <a:gd name="connsiteY72" fmla="*/ 2291906 h 4031170"/>
              <a:gd name="connsiteX73" fmla="*/ 3159919 w 6829615"/>
              <a:gd name="connsiteY73" fmla="*/ 1831372 h 4031170"/>
              <a:gd name="connsiteX74" fmla="*/ 3448907 w 6829615"/>
              <a:gd name="connsiteY74" fmla="*/ 1830324 h 4031170"/>
              <a:gd name="connsiteX75" fmla="*/ 3463671 w 6829615"/>
              <a:gd name="connsiteY75" fmla="*/ 1805464 h 4031170"/>
              <a:gd name="connsiteX76" fmla="*/ 3139345 w 6829615"/>
              <a:gd name="connsiteY76" fmla="*/ 1804226 h 4031170"/>
              <a:gd name="connsiteX77" fmla="*/ 2795969 w 6829615"/>
              <a:gd name="connsiteY77" fmla="*/ 1241489 h 4031170"/>
              <a:gd name="connsiteX78" fmla="*/ 2806637 w 6829615"/>
              <a:gd name="connsiteY78" fmla="*/ 959072 h 4031170"/>
              <a:gd name="connsiteX79" fmla="*/ 2635949 w 6829615"/>
              <a:gd name="connsiteY79" fmla="*/ 708470 h 4031170"/>
              <a:gd name="connsiteX80" fmla="*/ 2205990 w 6829615"/>
              <a:gd name="connsiteY80" fmla="*/ 706184 h 4031170"/>
              <a:gd name="connsiteX81" fmla="*/ 2018062 w 6829615"/>
              <a:gd name="connsiteY81" fmla="*/ 1035939 h 4031170"/>
              <a:gd name="connsiteX82" fmla="*/ 1136618 w 6829615"/>
              <a:gd name="connsiteY82" fmla="*/ 1035939 h 4031170"/>
              <a:gd name="connsiteX83" fmla="*/ 966883 w 6829615"/>
              <a:gd name="connsiteY83" fmla="*/ 719423 h 4031170"/>
              <a:gd name="connsiteX84" fmla="*/ 906685 w 6829615"/>
              <a:gd name="connsiteY84" fmla="*/ 719423 h 4031170"/>
              <a:gd name="connsiteX85" fmla="*/ 707708 w 6829615"/>
              <a:gd name="connsiteY85" fmla="*/ 1096709 h 4031170"/>
              <a:gd name="connsiteX86" fmla="*/ 708946 w 6829615"/>
              <a:gd name="connsiteY86" fmla="*/ 1153954 h 4031170"/>
              <a:gd name="connsiteX87" fmla="*/ 2203990 w 6829615"/>
              <a:gd name="connsiteY87" fmla="*/ 1154811 h 4031170"/>
              <a:gd name="connsiteX88" fmla="*/ 2355342 w 6829615"/>
              <a:gd name="connsiteY88" fmla="*/ 858298 h 4031170"/>
              <a:gd name="connsiteX89" fmla="*/ 2559749 w 6829615"/>
              <a:gd name="connsiteY89" fmla="*/ 858298 h 4031170"/>
              <a:gd name="connsiteX90" fmla="*/ 2688812 w 6829615"/>
              <a:gd name="connsiteY90" fmla="*/ 1028414 h 4031170"/>
              <a:gd name="connsiteX91" fmla="*/ 2688812 w 6829615"/>
              <a:gd name="connsiteY91" fmla="*/ 1353217 h 4031170"/>
              <a:gd name="connsiteX92" fmla="*/ 3007519 w 6829615"/>
              <a:gd name="connsiteY92" fmla="*/ 1887664 h 4031170"/>
              <a:gd name="connsiteX93" fmla="*/ 2767394 w 6829615"/>
              <a:gd name="connsiteY93" fmla="*/ 2247900 h 4031170"/>
              <a:gd name="connsiteX94" fmla="*/ 2761583 w 6829615"/>
              <a:gd name="connsiteY94" fmla="*/ 2718149 h 4031170"/>
              <a:gd name="connsiteX95" fmla="*/ 2500313 w 6829615"/>
              <a:gd name="connsiteY95" fmla="*/ 3111532 h 4031170"/>
              <a:gd name="connsiteX96" fmla="*/ 2262378 w 6829615"/>
              <a:gd name="connsiteY96" fmla="*/ 2712149 h 4031170"/>
              <a:gd name="connsiteX97" fmla="*/ 2262378 w 6829615"/>
              <a:gd name="connsiteY97" fmla="*/ 2427446 h 4031170"/>
              <a:gd name="connsiteX98" fmla="*/ 2158460 w 6829615"/>
              <a:gd name="connsiteY98" fmla="*/ 2257139 h 4031170"/>
              <a:gd name="connsiteX99" fmla="*/ 2158460 w 6829615"/>
              <a:gd name="connsiteY99" fmla="*/ 1856708 h 4031170"/>
              <a:gd name="connsiteX100" fmla="*/ 1913192 w 6829615"/>
              <a:gd name="connsiteY100" fmla="*/ 1441323 h 4031170"/>
              <a:gd name="connsiteX101" fmla="*/ 2415635 w 6829615"/>
              <a:gd name="connsiteY101" fmla="*/ 1441323 h 4031170"/>
              <a:gd name="connsiteX102" fmla="*/ 2683859 w 6829615"/>
              <a:gd name="connsiteY102" fmla="*/ 1863090 h 4031170"/>
              <a:gd name="connsiteX103" fmla="*/ 2526887 w 6829615"/>
              <a:gd name="connsiteY103" fmla="*/ 2100072 h 4031170"/>
              <a:gd name="connsiteX104" fmla="*/ 2526887 w 6829615"/>
              <a:gd name="connsiteY104" fmla="*/ 2145125 h 4031170"/>
              <a:gd name="connsiteX105" fmla="*/ 2364962 w 6829615"/>
              <a:gd name="connsiteY105" fmla="*/ 2145125 h 4031170"/>
              <a:gd name="connsiteX106" fmla="*/ 2364962 w 6829615"/>
              <a:gd name="connsiteY106" fmla="*/ 2051399 h 4031170"/>
              <a:gd name="connsiteX107" fmla="*/ 2490788 w 6829615"/>
              <a:gd name="connsiteY107" fmla="*/ 1861280 h 4031170"/>
              <a:gd name="connsiteX108" fmla="*/ 2326672 w 6829615"/>
              <a:gd name="connsiteY108" fmla="*/ 1603248 h 4031170"/>
              <a:gd name="connsiteX109" fmla="*/ 2196846 w 6829615"/>
              <a:gd name="connsiteY109" fmla="*/ 1603248 h 4031170"/>
              <a:gd name="connsiteX110" fmla="*/ 2320385 w 6829615"/>
              <a:gd name="connsiteY110" fmla="*/ 1812417 h 4031170"/>
              <a:gd name="connsiteX111" fmla="*/ 2320385 w 6829615"/>
              <a:gd name="connsiteY111" fmla="*/ 2211705 h 4031170"/>
              <a:gd name="connsiteX112" fmla="*/ 2424303 w 6829615"/>
              <a:gd name="connsiteY112" fmla="*/ 2381917 h 4031170"/>
              <a:gd name="connsiteX113" fmla="*/ 2424303 w 6829615"/>
              <a:gd name="connsiteY113" fmla="*/ 2667572 h 4031170"/>
              <a:gd name="connsiteX114" fmla="*/ 2507742 w 6829615"/>
              <a:gd name="connsiteY114" fmla="*/ 2807684 h 4031170"/>
              <a:gd name="connsiteX115" fmla="*/ 2600325 w 6829615"/>
              <a:gd name="connsiteY115" fmla="*/ 2668334 h 4031170"/>
              <a:gd name="connsiteX116" fmla="*/ 2606040 w 6829615"/>
              <a:gd name="connsiteY116" fmla="*/ 2197894 h 4031170"/>
              <a:gd name="connsiteX117" fmla="*/ 2816066 w 6829615"/>
              <a:gd name="connsiteY117" fmla="*/ 1882902 h 4031170"/>
              <a:gd name="connsiteX118" fmla="*/ 2526887 w 6829615"/>
              <a:gd name="connsiteY118" fmla="*/ 1397794 h 4031170"/>
              <a:gd name="connsiteX119" fmla="*/ 2526887 w 6829615"/>
              <a:gd name="connsiteY119" fmla="*/ 1082897 h 4031170"/>
              <a:gd name="connsiteX120" fmla="*/ 2479358 w 6829615"/>
              <a:gd name="connsiteY120" fmla="*/ 1020223 h 4031170"/>
              <a:gd name="connsiteX121" fmla="*/ 2454497 w 6829615"/>
              <a:gd name="connsiteY121" fmla="*/ 1020223 h 4031170"/>
              <a:gd name="connsiteX122" fmla="*/ 2303145 w 6829615"/>
              <a:gd name="connsiteY122" fmla="*/ 1316831 h 4031170"/>
              <a:gd name="connsiteX123" fmla="*/ 759143 w 6829615"/>
              <a:gd name="connsiteY123" fmla="*/ 1315974 h 4031170"/>
              <a:gd name="connsiteX124" fmla="*/ 686562 w 6829615"/>
              <a:gd name="connsiteY124" fmla="*/ 1377315 h 4031170"/>
              <a:gd name="connsiteX125" fmla="*/ 602647 w 6829615"/>
              <a:gd name="connsiteY125" fmla="*/ 1378744 h 4031170"/>
              <a:gd name="connsiteX126" fmla="*/ 550259 w 6829615"/>
              <a:gd name="connsiteY126" fmla="*/ 1309402 h 4031170"/>
              <a:gd name="connsiteX127" fmla="*/ 545021 w 6829615"/>
              <a:gd name="connsiteY127" fmla="*/ 1058228 h 4031170"/>
              <a:gd name="connsiteX128" fmla="*/ 808958 w 6829615"/>
              <a:gd name="connsiteY128" fmla="*/ 557498 h 4031170"/>
              <a:gd name="connsiteX129" fmla="*/ 1063752 w 6829615"/>
              <a:gd name="connsiteY129" fmla="*/ 557498 h 4031170"/>
              <a:gd name="connsiteX130" fmla="*/ 1233583 w 6829615"/>
              <a:gd name="connsiteY130" fmla="*/ 874014 h 4031170"/>
              <a:gd name="connsiteX131" fmla="*/ 1923955 w 6829615"/>
              <a:gd name="connsiteY131" fmla="*/ 874014 h 4031170"/>
              <a:gd name="connsiteX132" fmla="*/ 2112264 w 6829615"/>
              <a:gd name="connsiteY132" fmla="*/ 543687 h 4031170"/>
              <a:gd name="connsiteX133" fmla="*/ 2721864 w 6829615"/>
              <a:gd name="connsiteY133" fmla="*/ 547021 h 4031170"/>
              <a:gd name="connsiteX134" fmla="*/ 2970371 w 6829615"/>
              <a:gd name="connsiteY134" fmla="*/ 911924 h 4031170"/>
              <a:gd name="connsiteX135" fmla="*/ 2959608 w 6829615"/>
              <a:gd name="connsiteY135" fmla="*/ 1198721 h 4031170"/>
              <a:gd name="connsiteX136" fmla="*/ 3230404 w 6829615"/>
              <a:gd name="connsiteY136" fmla="*/ 1642682 h 4031170"/>
              <a:gd name="connsiteX137" fmla="*/ 3747326 w 6829615"/>
              <a:gd name="connsiteY137" fmla="*/ 1644587 h 4031170"/>
              <a:gd name="connsiteX138" fmla="*/ 3541300 w 6829615"/>
              <a:gd name="connsiteY138" fmla="*/ 1991868 h 4031170"/>
              <a:gd name="connsiteX139" fmla="*/ 3252216 w 6829615"/>
              <a:gd name="connsiteY139" fmla="*/ 1993011 h 4031170"/>
              <a:gd name="connsiteX140" fmla="*/ 3047333 w 6829615"/>
              <a:gd name="connsiteY140" fmla="*/ 2336959 h 4031170"/>
              <a:gd name="connsiteX141" fmla="*/ 3044381 w 6829615"/>
              <a:gd name="connsiteY141" fmla="*/ 2783681 h 4031170"/>
              <a:gd name="connsiteX142" fmla="*/ 2685479 w 6829615"/>
              <a:gd name="connsiteY142" fmla="*/ 3357848 h 4031170"/>
              <a:gd name="connsiteX143" fmla="*/ 2685479 w 6829615"/>
              <a:gd name="connsiteY143" fmla="*/ 3542633 h 4031170"/>
              <a:gd name="connsiteX144" fmla="*/ 2572417 w 6829615"/>
              <a:gd name="connsiteY144" fmla="*/ 3729704 h 4031170"/>
              <a:gd name="connsiteX145" fmla="*/ 2429923 w 6829615"/>
              <a:gd name="connsiteY145" fmla="*/ 3729704 h 4031170"/>
              <a:gd name="connsiteX146" fmla="*/ 2262092 w 6829615"/>
              <a:gd name="connsiteY146" fmla="*/ 3510820 h 4031170"/>
              <a:gd name="connsiteX147" fmla="*/ 2262092 w 6829615"/>
              <a:gd name="connsiteY147" fmla="*/ 3249454 h 4031170"/>
              <a:gd name="connsiteX148" fmla="*/ 2009489 w 6829615"/>
              <a:gd name="connsiteY148" fmla="*/ 2827115 h 4031170"/>
              <a:gd name="connsiteX149" fmla="*/ 2009489 w 6829615"/>
              <a:gd name="connsiteY149" fmla="*/ 2579941 h 4031170"/>
              <a:gd name="connsiteX150" fmla="*/ 1868900 w 6829615"/>
              <a:gd name="connsiteY150" fmla="*/ 2338483 h 4031170"/>
              <a:gd name="connsiteX151" fmla="*/ 1868900 w 6829615"/>
              <a:gd name="connsiteY151" fmla="*/ 1931575 h 4031170"/>
              <a:gd name="connsiteX152" fmla="*/ 1692974 w 6829615"/>
              <a:gd name="connsiteY152" fmla="*/ 1611154 h 4031170"/>
              <a:gd name="connsiteX153" fmla="*/ 903827 w 6829615"/>
              <a:gd name="connsiteY153" fmla="*/ 1611154 h 4031170"/>
              <a:gd name="connsiteX154" fmla="*/ 800481 w 6829615"/>
              <a:gd name="connsiteY154" fmla="*/ 1746314 h 4031170"/>
              <a:gd name="connsiteX155" fmla="*/ 513398 w 6829615"/>
              <a:gd name="connsiteY155" fmla="*/ 1746314 h 4031170"/>
              <a:gd name="connsiteX156" fmla="*/ 267653 w 6829615"/>
              <a:gd name="connsiteY156" fmla="*/ 1391984 h 4031170"/>
              <a:gd name="connsiteX157" fmla="*/ 258413 w 6829615"/>
              <a:gd name="connsiteY157" fmla="*/ 954119 h 4031170"/>
              <a:gd name="connsiteX158" fmla="*/ 644843 w 6829615"/>
              <a:gd name="connsiteY158" fmla="*/ 269462 h 4031170"/>
              <a:gd name="connsiteX159" fmla="*/ 1195102 w 6829615"/>
              <a:gd name="connsiteY159" fmla="*/ 269462 h 4031170"/>
              <a:gd name="connsiteX160" fmla="*/ 1397984 w 6829615"/>
              <a:gd name="connsiteY160" fmla="*/ 616172 h 4031170"/>
              <a:gd name="connsiteX161" fmla="*/ 1777937 w 6829615"/>
              <a:gd name="connsiteY161" fmla="*/ 616172 h 4031170"/>
              <a:gd name="connsiteX162" fmla="*/ 1962722 w 6829615"/>
              <a:gd name="connsiteY162" fmla="*/ 278987 h 4031170"/>
              <a:gd name="connsiteX163" fmla="*/ 2831402 w 6829615"/>
              <a:gd name="connsiteY163" fmla="*/ 278987 h 4031170"/>
              <a:gd name="connsiteX164" fmla="*/ 3219545 w 6829615"/>
              <a:gd name="connsiteY164" fmla="*/ 815435 h 4031170"/>
              <a:gd name="connsiteX165" fmla="*/ 3219069 w 6829615"/>
              <a:gd name="connsiteY165" fmla="*/ 1140905 h 4031170"/>
              <a:gd name="connsiteX166" fmla="*/ 3378041 w 6829615"/>
              <a:gd name="connsiteY166" fmla="*/ 1414082 h 4031170"/>
              <a:gd name="connsiteX167" fmla="*/ 4152138 w 6829615"/>
              <a:gd name="connsiteY167" fmla="*/ 1414082 h 4031170"/>
              <a:gd name="connsiteX168" fmla="*/ 3689318 w 6829615"/>
              <a:gd name="connsiteY168" fmla="*/ 2223326 h 4031170"/>
              <a:gd name="connsiteX169" fmla="*/ 3462719 w 6829615"/>
              <a:gd name="connsiteY169" fmla="*/ 2220944 h 4031170"/>
              <a:gd name="connsiteX170" fmla="*/ 3312128 w 6829615"/>
              <a:gd name="connsiteY170" fmla="*/ 2458498 h 4031170"/>
              <a:gd name="connsiteX171" fmla="*/ 3312128 w 6829615"/>
              <a:gd name="connsiteY171" fmla="*/ 2864263 h 4031170"/>
              <a:gd name="connsiteX172" fmla="*/ 2926175 w 6829615"/>
              <a:gd name="connsiteY172" fmla="*/ 3469386 h 4031170"/>
              <a:gd name="connsiteX173" fmla="*/ 2926175 w 6829615"/>
              <a:gd name="connsiteY173" fmla="*/ 3685604 h 4031170"/>
              <a:gd name="connsiteX174" fmla="*/ 2718340 w 6829615"/>
              <a:gd name="connsiteY174" fmla="*/ 4031171 h 4031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829615" h="4031170">
                <a:moveTo>
                  <a:pt x="2718340" y="4031171"/>
                </a:moveTo>
                <a:lnTo>
                  <a:pt x="2288381" y="4028504"/>
                </a:lnTo>
                <a:lnTo>
                  <a:pt x="1978724" y="3663887"/>
                </a:lnTo>
                <a:lnTo>
                  <a:pt x="1978724" y="3314129"/>
                </a:lnTo>
                <a:lnTo>
                  <a:pt x="1742980" y="2885599"/>
                </a:lnTo>
                <a:lnTo>
                  <a:pt x="1743742" y="2627662"/>
                </a:lnTo>
                <a:lnTo>
                  <a:pt x="1603534" y="2383631"/>
                </a:lnTo>
                <a:lnTo>
                  <a:pt x="1603534" y="1988344"/>
                </a:lnTo>
                <a:lnTo>
                  <a:pt x="1563624" y="1916906"/>
                </a:lnTo>
                <a:lnTo>
                  <a:pt x="1009840" y="1916906"/>
                </a:lnTo>
                <a:lnTo>
                  <a:pt x="947833" y="2024443"/>
                </a:lnTo>
                <a:lnTo>
                  <a:pt x="351282" y="2024443"/>
                </a:lnTo>
                <a:lnTo>
                  <a:pt x="0" y="1478661"/>
                </a:lnTo>
                <a:lnTo>
                  <a:pt x="0" y="860965"/>
                </a:lnTo>
                <a:lnTo>
                  <a:pt x="512636" y="0"/>
                </a:lnTo>
                <a:lnTo>
                  <a:pt x="1361408" y="0"/>
                </a:lnTo>
                <a:lnTo>
                  <a:pt x="1537526" y="290417"/>
                </a:lnTo>
                <a:lnTo>
                  <a:pt x="1638967" y="289751"/>
                </a:lnTo>
                <a:lnTo>
                  <a:pt x="1798130" y="0"/>
                </a:lnTo>
                <a:lnTo>
                  <a:pt x="6829616" y="0"/>
                </a:lnTo>
                <a:lnTo>
                  <a:pt x="6829616" y="161925"/>
                </a:lnTo>
                <a:lnTo>
                  <a:pt x="1893951" y="161925"/>
                </a:lnTo>
                <a:lnTo>
                  <a:pt x="1735169" y="451104"/>
                </a:lnTo>
                <a:lnTo>
                  <a:pt x="1446752" y="452914"/>
                </a:lnTo>
                <a:lnTo>
                  <a:pt x="1270254" y="161925"/>
                </a:lnTo>
                <a:lnTo>
                  <a:pt x="604647" y="161925"/>
                </a:lnTo>
                <a:lnTo>
                  <a:pt x="161925" y="905447"/>
                </a:lnTo>
                <a:lnTo>
                  <a:pt x="161925" y="1431036"/>
                </a:lnTo>
                <a:lnTo>
                  <a:pt x="439674" y="1862518"/>
                </a:lnTo>
                <a:lnTo>
                  <a:pt x="854297" y="1862518"/>
                </a:lnTo>
                <a:lnTo>
                  <a:pt x="916305" y="1754981"/>
                </a:lnTo>
                <a:lnTo>
                  <a:pt x="1658684" y="1754981"/>
                </a:lnTo>
                <a:lnTo>
                  <a:pt x="1765459" y="1946148"/>
                </a:lnTo>
                <a:lnTo>
                  <a:pt x="1765459" y="2340388"/>
                </a:lnTo>
                <a:lnTo>
                  <a:pt x="1905762" y="2584704"/>
                </a:lnTo>
                <a:lnTo>
                  <a:pt x="1905000" y="2844260"/>
                </a:lnTo>
                <a:lnTo>
                  <a:pt x="2140649" y="3272504"/>
                </a:lnTo>
                <a:lnTo>
                  <a:pt x="2140649" y="3604451"/>
                </a:lnTo>
                <a:lnTo>
                  <a:pt x="2363724" y="3867055"/>
                </a:lnTo>
                <a:lnTo>
                  <a:pt x="2627090" y="3868674"/>
                </a:lnTo>
                <a:lnTo>
                  <a:pt x="2764250" y="3640646"/>
                </a:lnTo>
                <a:lnTo>
                  <a:pt x="2764250" y="3422047"/>
                </a:lnTo>
                <a:lnTo>
                  <a:pt x="3150203" y="2817019"/>
                </a:lnTo>
                <a:lnTo>
                  <a:pt x="3150203" y="2411444"/>
                </a:lnTo>
                <a:lnTo>
                  <a:pt x="3374231" y="2058067"/>
                </a:lnTo>
                <a:lnTo>
                  <a:pt x="3595973" y="2060448"/>
                </a:lnTo>
                <a:lnTo>
                  <a:pt x="3872960" y="1576007"/>
                </a:lnTo>
                <a:lnTo>
                  <a:pt x="3284982" y="1576007"/>
                </a:lnTo>
                <a:lnTo>
                  <a:pt x="3057049" y="1184529"/>
                </a:lnTo>
                <a:lnTo>
                  <a:pt x="3057525" y="867728"/>
                </a:lnTo>
                <a:lnTo>
                  <a:pt x="2748724" y="440912"/>
                </a:lnTo>
                <a:lnTo>
                  <a:pt x="2058638" y="440912"/>
                </a:lnTo>
                <a:lnTo>
                  <a:pt x="1873853" y="778097"/>
                </a:lnTo>
                <a:lnTo>
                  <a:pt x="1305116" y="778097"/>
                </a:lnTo>
                <a:lnTo>
                  <a:pt x="1102233" y="431387"/>
                </a:lnTo>
                <a:lnTo>
                  <a:pt x="739426" y="431387"/>
                </a:lnTo>
                <a:lnTo>
                  <a:pt x="421196" y="995077"/>
                </a:lnTo>
                <a:lnTo>
                  <a:pt x="428435" y="1339787"/>
                </a:lnTo>
                <a:lnTo>
                  <a:pt x="598075" y="1584389"/>
                </a:lnTo>
                <a:lnTo>
                  <a:pt x="720471" y="1584389"/>
                </a:lnTo>
                <a:lnTo>
                  <a:pt x="823817" y="1449229"/>
                </a:lnTo>
                <a:lnTo>
                  <a:pt x="1788795" y="1449229"/>
                </a:lnTo>
                <a:lnTo>
                  <a:pt x="2030825" y="1890046"/>
                </a:lnTo>
                <a:lnTo>
                  <a:pt x="2030825" y="2294763"/>
                </a:lnTo>
                <a:lnTo>
                  <a:pt x="2171414" y="2536222"/>
                </a:lnTo>
                <a:lnTo>
                  <a:pt x="2171414" y="2782348"/>
                </a:lnTo>
                <a:lnTo>
                  <a:pt x="2424017" y="3204782"/>
                </a:lnTo>
                <a:lnTo>
                  <a:pt x="2424017" y="3455861"/>
                </a:lnTo>
                <a:lnTo>
                  <a:pt x="2493740" y="3546824"/>
                </a:lnTo>
                <a:lnTo>
                  <a:pt x="2523554" y="3497485"/>
                </a:lnTo>
                <a:lnTo>
                  <a:pt x="2523554" y="3311366"/>
                </a:lnTo>
                <a:lnTo>
                  <a:pt x="2882741" y="2736723"/>
                </a:lnTo>
                <a:lnTo>
                  <a:pt x="2885694" y="2291906"/>
                </a:lnTo>
                <a:lnTo>
                  <a:pt x="3159919" y="1831372"/>
                </a:lnTo>
                <a:lnTo>
                  <a:pt x="3448907" y="1830324"/>
                </a:lnTo>
                <a:lnTo>
                  <a:pt x="3463671" y="1805464"/>
                </a:lnTo>
                <a:lnTo>
                  <a:pt x="3139345" y="1804226"/>
                </a:lnTo>
                <a:lnTo>
                  <a:pt x="2795969" y="1241489"/>
                </a:lnTo>
                <a:lnTo>
                  <a:pt x="2806637" y="959072"/>
                </a:lnTo>
                <a:lnTo>
                  <a:pt x="2635949" y="708470"/>
                </a:lnTo>
                <a:lnTo>
                  <a:pt x="2205990" y="706184"/>
                </a:lnTo>
                <a:lnTo>
                  <a:pt x="2018062" y="1035939"/>
                </a:lnTo>
                <a:lnTo>
                  <a:pt x="1136618" y="1035939"/>
                </a:lnTo>
                <a:lnTo>
                  <a:pt x="966883" y="719423"/>
                </a:lnTo>
                <a:lnTo>
                  <a:pt x="906685" y="719423"/>
                </a:lnTo>
                <a:lnTo>
                  <a:pt x="707708" y="1096709"/>
                </a:lnTo>
                <a:lnTo>
                  <a:pt x="708946" y="1153954"/>
                </a:lnTo>
                <a:lnTo>
                  <a:pt x="2203990" y="1154811"/>
                </a:lnTo>
                <a:lnTo>
                  <a:pt x="2355342" y="858298"/>
                </a:lnTo>
                <a:lnTo>
                  <a:pt x="2559749" y="858298"/>
                </a:lnTo>
                <a:lnTo>
                  <a:pt x="2688812" y="1028414"/>
                </a:lnTo>
                <a:lnTo>
                  <a:pt x="2688812" y="1353217"/>
                </a:lnTo>
                <a:lnTo>
                  <a:pt x="3007519" y="1887664"/>
                </a:lnTo>
                <a:lnTo>
                  <a:pt x="2767394" y="2247900"/>
                </a:lnTo>
                <a:lnTo>
                  <a:pt x="2761583" y="2718149"/>
                </a:lnTo>
                <a:lnTo>
                  <a:pt x="2500313" y="3111532"/>
                </a:lnTo>
                <a:lnTo>
                  <a:pt x="2262378" y="2712149"/>
                </a:lnTo>
                <a:lnTo>
                  <a:pt x="2262378" y="2427446"/>
                </a:lnTo>
                <a:lnTo>
                  <a:pt x="2158460" y="2257139"/>
                </a:lnTo>
                <a:lnTo>
                  <a:pt x="2158460" y="1856708"/>
                </a:lnTo>
                <a:lnTo>
                  <a:pt x="1913192" y="1441323"/>
                </a:lnTo>
                <a:lnTo>
                  <a:pt x="2415635" y="1441323"/>
                </a:lnTo>
                <a:lnTo>
                  <a:pt x="2683859" y="1863090"/>
                </a:lnTo>
                <a:lnTo>
                  <a:pt x="2526887" y="2100072"/>
                </a:lnTo>
                <a:lnTo>
                  <a:pt x="2526887" y="2145125"/>
                </a:lnTo>
                <a:lnTo>
                  <a:pt x="2364962" y="2145125"/>
                </a:lnTo>
                <a:lnTo>
                  <a:pt x="2364962" y="2051399"/>
                </a:lnTo>
                <a:lnTo>
                  <a:pt x="2490788" y="1861280"/>
                </a:lnTo>
                <a:lnTo>
                  <a:pt x="2326672" y="1603248"/>
                </a:lnTo>
                <a:lnTo>
                  <a:pt x="2196846" y="1603248"/>
                </a:lnTo>
                <a:lnTo>
                  <a:pt x="2320385" y="1812417"/>
                </a:lnTo>
                <a:lnTo>
                  <a:pt x="2320385" y="2211705"/>
                </a:lnTo>
                <a:lnTo>
                  <a:pt x="2424303" y="2381917"/>
                </a:lnTo>
                <a:lnTo>
                  <a:pt x="2424303" y="2667572"/>
                </a:lnTo>
                <a:lnTo>
                  <a:pt x="2507742" y="2807684"/>
                </a:lnTo>
                <a:lnTo>
                  <a:pt x="2600325" y="2668334"/>
                </a:lnTo>
                <a:lnTo>
                  <a:pt x="2606040" y="2197894"/>
                </a:lnTo>
                <a:lnTo>
                  <a:pt x="2816066" y="1882902"/>
                </a:lnTo>
                <a:lnTo>
                  <a:pt x="2526887" y="1397794"/>
                </a:lnTo>
                <a:lnTo>
                  <a:pt x="2526887" y="1082897"/>
                </a:lnTo>
                <a:lnTo>
                  <a:pt x="2479358" y="1020223"/>
                </a:lnTo>
                <a:lnTo>
                  <a:pt x="2454497" y="1020223"/>
                </a:lnTo>
                <a:lnTo>
                  <a:pt x="2303145" y="1316831"/>
                </a:lnTo>
                <a:lnTo>
                  <a:pt x="759143" y="1315974"/>
                </a:lnTo>
                <a:lnTo>
                  <a:pt x="686562" y="1377315"/>
                </a:lnTo>
                <a:lnTo>
                  <a:pt x="602647" y="1378744"/>
                </a:lnTo>
                <a:lnTo>
                  <a:pt x="550259" y="1309402"/>
                </a:lnTo>
                <a:lnTo>
                  <a:pt x="545021" y="1058228"/>
                </a:lnTo>
                <a:lnTo>
                  <a:pt x="808958" y="557498"/>
                </a:lnTo>
                <a:lnTo>
                  <a:pt x="1063752" y="557498"/>
                </a:lnTo>
                <a:lnTo>
                  <a:pt x="1233583" y="874014"/>
                </a:lnTo>
                <a:lnTo>
                  <a:pt x="1923955" y="874014"/>
                </a:lnTo>
                <a:lnTo>
                  <a:pt x="2112264" y="543687"/>
                </a:lnTo>
                <a:lnTo>
                  <a:pt x="2721864" y="547021"/>
                </a:lnTo>
                <a:lnTo>
                  <a:pt x="2970371" y="911924"/>
                </a:lnTo>
                <a:lnTo>
                  <a:pt x="2959608" y="1198721"/>
                </a:lnTo>
                <a:lnTo>
                  <a:pt x="3230404" y="1642682"/>
                </a:lnTo>
                <a:lnTo>
                  <a:pt x="3747326" y="1644587"/>
                </a:lnTo>
                <a:lnTo>
                  <a:pt x="3541300" y="1991868"/>
                </a:lnTo>
                <a:lnTo>
                  <a:pt x="3252216" y="1993011"/>
                </a:lnTo>
                <a:lnTo>
                  <a:pt x="3047333" y="2336959"/>
                </a:lnTo>
                <a:lnTo>
                  <a:pt x="3044381" y="2783681"/>
                </a:lnTo>
                <a:lnTo>
                  <a:pt x="2685479" y="3357848"/>
                </a:lnTo>
                <a:lnTo>
                  <a:pt x="2685479" y="3542633"/>
                </a:lnTo>
                <a:lnTo>
                  <a:pt x="2572417" y="3729704"/>
                </a:lnTo>
                <a:lnTo>
                  <a:pt x="2429923" y="3729704"/>
                </a:lnTo>
                <a:lnTo>
                  <a:pt x="2262092" y="3510820"/>
                </a:lnTo>
                <a:lnTo>
                  <a:pt x="2262092" y="3249454"/>
                </a:lnTo>
                <a:lnTo>
                  <a:pt x="2009489" y="2827115"/>
                </a:lnTo>
                <a:lnTo>
                  <a:pt x="2009489" y="2579941"/>
                </a:lnTo>
                <a:lnTo>
                  <a:pt x="1868900" y="2338483"/>
                </a:lnTo>
                <a:lnTo>
                  <a:pt x="1868900" y="1931575"/>
                </a:lnTo>
                <a:lnTo>
                  <a:pt x="1692974" y="1611154"/>
                </a:lnTo>
                <a:lnTo>
                  <a:pt x="903827" y="1611154"/>
                </a:lnTo>
                <a:lnTo>
                  <a:pt x="800481" y="1746314"/>
                </a:lnTo>
                <a:lnTo>
                  <a:pt x="513398" y="1746314"/>
                </a:lnTo>
                <a:lnTo>
                  <a:pt x="267653" y="1391984"/>
                </a:lnTo>
                <a:lnTo>
                  <a:pt x="258413" y="954119"/>
                </a:lnTo>
                <a:lnTo>
                  <a:pt x="644843" y="269462"/>
                </a:lnTo>
                <a:lnTo>
                  <a:pt x="1195102" y="269462"/>
                </a:lnTo>
                <a:lnTo>
                  <a:pt x="1397984" y="616172"/>
                </a:lnTo>
                <a:lnTo>
                  <a:pt x="1777937" y="616172"/>
                </a:lnTo>
                <a:lnTo>
                  <a:pt x="1962722" y="278987"/>
                </a:lnTo>
                <a:lnTo>
                  <a:pt x="2831402" y="278987"/>
                </a:lnTo>
                <a:lnTo>
                  <a:pt x="3219545" y="815435"/>
                </a:lnTo>
                <a:lnTo>
                  <a:pt x="3219069" y="1140905"/>
                </a:lnTo>
                <a:lnTo>
                  <a:pt x="3378041" y="1414082"/>
                </a:lnTo>
                <a:lnTo>
                  <a:pt x="4152138" y="1414082"/>
                </a:lnTo>
                <a:lnTo>
                  <a:pt x="3689318" y="2223326"/>
                </a:lnTo>
                <a:lnTo>
                  <a:pt x="3462719" y="2220944"/>
                </a:lnTo>
                <a:lnTo>
                  <a:pt x="3312128" y="2458498"/>
                </a:lnTo>
                <a:lnTo>
                  <a:pt x="3312128" y="2864263"/>
                </a:lnTo>
                <a:lnTo>
                  <a:pt x="2926175" y="3469386"/>
                </a:lnTo>
                <a:lnTo>
                  <a:pt x="2926175" y="3685604"/>
                </a:lnTo>
                <a:lnTo>
                  <a:pt x="2718340" y="4031171"/>
                </a:lnTo>
                <a:close/>
              </a:path>
            </a:pathLst>
          </a:custGeom>
          <a:solidFill>
            <a:srgbClr val="7DBA0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5813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A49168BD-AB6E-E377-7CEA-0E7694373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8458258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A49168BD-AB6E-E377-7CEA-0E76943733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4058515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A49168BD-AB6E-E377-7CEA-0E7694373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2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644054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>
            <a:extLst>
              <a:ext uri="{FF2B5EF4-FFF2-40B4-BE49-F238E27FC236}">
                <a16:creationId xmlns:a16="http://schemas.microsoft.com/office/drawing/2014/main" id="{34BADCB9-88FF-853F-7CB9-967EA4291D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6A86DB4-8A0E-5852-A8CA-D1F0D4A0FEF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16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3065186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9222224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A49168BD-AB6E-E377-7CEA-0E76943733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844608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 descr="Colourful cargo containers stacked with a worker standing">
            <a:extLst>
              <a:ext uri="{FF2B5EF4-FFF2-40B4-BE49-F238E27FC236}">
                <a16:creationId xmlns:a16="http://schemas.microsoft.com/office/drawing/2014/main" id="{77320EED-BBCB-8B40-2FBE-A4CA2CA7D0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8070249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>
            <a:extLst>
              <a:ext uri="{FF2B5EF4-FFF2-40B4-BE49-F238E27FC236}">
                <a16:creationId xmlns:a16="http://schemas.microsoft.com/office/drawing/2014/main" id="{77320EED-BBCB-8B40-2FBE-A4CA2CA7D0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8270678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>
            <a:extLst>
              <a:ext uri="{FF2B5EF4-FFF2-40B4-BE49-F238E27FC236}">
                <a16:creationId xmlns:a16="http://schemas.microsoft.com/office/drawing/2014/main" id="{77320EED-BBCB-8B40-2FBE-A4CA2CA7D0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5483263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 descr="Top view of a wooden desk with a white keyboard, drawing plan and drawing compass, and pens.">
            <a:extLst>
              <a:ext uri="{FF2B5EF4-FFF2-40B4-BE49-F238E27FC236}">
                <a16:creationId xmlns:a16="http://schemas.microsoft.com/office/drawing/2014/main" id="{A49168BD-AB6E-E377-7CEA-0E7694373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0661925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755" y="4945338"/>
            <a:ext cx="6543458" cy="615553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DF6E4E97-1E5E-6DDC-51DB-51A4B672C7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8757" y="5572294"/>
            <a:ext cx="5032147" cy="484025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2836779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3994C55-28DA-03C2-35BC-75F5D854F08B}"/>
              </a:ext>
            </a:extLst>
          </p:cNvPr>
          <p:cNvSpPr/>
          <p:nvPr userDrawn="1"/>
        </p:nvSpPr>
        <p:spPr>
          <a:xfrm>
            <a:off x="0" y="0"/>
            <a:ext cx="12192001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E6505-1432-E7D8-FDE1-5E4383D36C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82543" y="-1"/>
            <a:ext cx="4909457" cy="6858257"/>
          </a:xfrm>
          <a:custGeom>
            <a:avLst/>
            <a:gdLst>
              <a:gd name="connsiteX0" fmla="*/ 0 w 4401300"/>
              <a:gd name="connsiteY0" fmla="*/ 0 h 6148388"/>
              <a:gd name="connsiteX1" fmla="*/ 4401300 w 4401300"/>
              <a:gd name="connsiteY1" fmla="*/ 0 h 6148388"/>
              <a:gd name="connsiteX2" fmla="*/ 4401300 w 4401300"/>
              <a:gd name="connsiteY2" fmla="*/ 6148388 h 6148388"/>
              <a:gd name="connsiteX3" fmla="*/ 3799566 w 4401300"/>
              <a:gd name="connsiteY3" fmla="*/ 6148388 h 614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01300" h="6148388">
                <a:moveTo>
                  <a:pt x="0" y="0"/>
                </a:moveTo>
                <a:lnTo>
                  <a:pt x="4401300" y="0"/>
                </a:lnTo>
                <a:lnTo>
                  <a:pt x="4401300" y="6148388"/>
                </a:lnTo>
                <a:lnTo>
                  <a:pt x="3799566" y="6148388"/>
                </a:lnTo>
                <a:close/>
              </a:path>
            </a:pathLst>
          </a:cu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615020BA-0B93-180E-3093-EAC3BCC73B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4" y="517638"/>
            <a:ext cx="5889053" cy="410136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8CE118E7-1BAE-2BED-BA49-7E01CC506DEF}"/>
              </a:ext>
            </a:extLst>
          </p:cNvPr>
          <p:cNvSpPr/>
          <p:nvPr userDrawn="1"/>
        </p:nvSpPr>
        <p:spPr>
          <a:xfrm>
            <a:off x="11521842" y="6474757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2C509C7-F64D-8D3C-E43B-BAD58331BD3D}"/>
              </a:ext>
            </a:extLst>
          </p:cNvPr>
          <p:cNvSpPr/>
          <p:nvPr userDrawn="1"/>
        </p:nvSpPr>
        <p:spPr>
          <a:xfrm>
            <a:off x="11588593" y="65348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>
              <a:solidFill>
                <a:schemeClr val="bg1"/>
              </a:solidFill>
              <a:latin typeface="Tahoma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9A9D43-FF02-9C81-1CFC-D9B244C575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152400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6" name="Graphic 64">
            <a:extLst>
              <a:ext uri="{FF2B5EF4-FFF2-40B4-BE49-F238E27FC236}">
                <a16:creationId xmlns:a16="http://schemas.microsoft.com/office/drawing/2014/main" id="{410252B1-98B5-8714-70E8-11601AFBFE16}"/>
              </a:ext>
            </a:extLst>
          </p:cNvPr>
          <p:cNvSpPr/>
          <p:nvPr userDrawn="1"/>
        </p:nvSpPr>
        <p:spPr>
          <a:xfrm>
            <a:off x="209511" y="923680"/>
            <a:ext cx="10009519" cy="1141126"/>
          </a:xfrm>
          <a:custGeom>
            <a:avLst/>
            <a:gdLst>
              <a:gd name="connsiteX0" fmla="*/ 7482459 w 7482459"/>
              <a:gd name="connsiteY0" fmla="*/ 0 h 963549"/>
              <a:gd name="connsiteX1" fmla="*/ 439579 w 7482459"/>
              <a:gd name="connsiteY1" fmla="*/ 0 h 963549"/>
              <a:gd name="connsiteX2" fmla="*/ 399955 w 7482459"/>
              <a:gd name="connsiteY2" fmla="*/ 72009 h 963549"/>
              <a:gd name="connsiteX3" fmla="*/ 351377 w 7482459"/>
              <a:gd name="connsiteY3" fmla="*/ 72390 h 963549"/>
              <a:gd name="connsiteX4" fmla="*/ 307467 w 7482459"/>
              <a:gd name="connsiteY4" fmla="*/ 0 h 963549"/>
              <a:gd name="connsiteX5" fmla="*/ 118967 w 7482459"/>
              <a:gd name="connsiteY5" fmla="*/ 0 h 963549"/>
              <a:gd name="connsiteX6" fmla="*/ 0 w 7482459"/>
              <a:gd name="connsiteY6" fmla="*/ 199739 h 963549"/>
              <a:gd name="connsiteX7" fmla="*/ 0 w 7482459"/>
              <a:gd name="connsiteY7" fmla="*/ 342138 h 963549"/>
              <a:gd name="connsiteX8" fmla="*/ 78296 w 7482459"/>
              <a:gd name="connsiteY8" fmla="*/ 463772 h 963549"/>
              <a:gd name="connsiteX9" fmla="*/ 204216 w 7482459"/>
              <a:gd name="connsiteY9" fmla="*/ 463772 h 963549"/>
              <a:gd name="connsiteX10" fmla="*/ 219647 w 7482459"/>
              <a:gd name="connsiteY10" fmla="*/ 437007 h 963549"/>
              <a:gd name="connsiteX11" fmla="*/ 381000 w 7482459"/>
              <a:gd name="connsiteY11" fmla="*/ 437007 h 963549"/>
              <a:gd name="connsiteX12" fmla="*/ 399288 w 7482459"/>
              <a:gd name="connsiteY12" fmla="*/ 469773 h 963549"/>
              <a:gd name="connsiteX13" fmla="*/ 399288 w 7482459"/>
              <a:gd name="connsiteY13" fmla="*/ 568071 h 963549"/>
              <a:gd name="connsiteX14" fmla="*/ 434245 w 7482459"/>
              <a:gd name="connsiteY14" fmla="*/ 628841 h 963549"/>
              <a:gd name="connsiteX15" fmla="*/ 434054 w 7482459"/>
              <a:gd name="connsiteY15" fmla="*/ 693325 h 963549"/>
              <a:gd name="connsiteX16" fmla="*/ 492728 w 7482459"/>
              <a:gd name="connsiteY16" fmla="*/ 800005 h 963549"/>
              <a:gd name="connsiteX17" fmla="*/ 492728 w 7482459"/>
              <a:gd name="connsiteY17" fmla="*/ 884873 h 963549"/>
              <a:gd name="connsiteX18" fmla="*/ 559118 w 7482459"/>
              <a:gd name="connsiteY18" fmla="*/ 962978 h 963549"/>
              <a:gd name="connsiteX19" fmla="*/ 645414 w 7482459"/>
              <a:gd name="connsiteY19" fmla="*/ 963549 h 963549"/>
              <a:gd name="connsiteX20" fmla="*/ 688372 w 7482459"/>
              <a:gd name="connsiteY20" fmla="*/ 892112 h 963549"/>
              <a:gd name="connsiteX21" fmla="*/ 688372 w 7482459"/>
              <a:gd name="connsiteY21" fmla="*/ 837914 h 963549"/>
              <a:gd name="connsiteX22" fmla="*/ 784479 w 7482459"/>
              <a:gd name="connsiteY22" fmla="*/ 687229 h 963549"/>
              <a:gd name="connsiteX23" fmla="*/ 784479 w 7482459"/>
              <a:gd name="connsiteY23" fmla="*/ 586169 h 963549"/>
              <a:gd name="connsiteX24" fmla="*/ 831152 w 7482459"/>
              <a:gd name="connsiteY24" fmla="*/ 512636 h 963549"/>
              <a:gd name="connsiteX25" fmla="*/ 886968 w 7482459"/>
              <a:gd name="connsiteY25" fmla="*/ 513207 h 963549"/>
              <a:gd name="connsiteX26" fmla="*/ 979075 w 7482459"/>
              <a:gd name="connsiteY26" fmla="*/ 352139 h 963549"/>
              <a:gd name="connsiteX27" fmla="*/ 809530 w 7482459"/>
              <a:gd name="connsiteY27" fmla="*/ 352139 h 963549"/>
              <a:gd name="connsiteX28" fmla="*/ 761333 w 7482459"/>
              <a:gd name="connsiteY28" fmla="*/ 269367 h 963549"/>
              <a:gd name="connsiteX29" fmla="*/ 761429 w 7482459"/>
              <a:gd name="connsiteY29" fmla="*/ 189357 h 963549"/>
              <a:gd name="connsiteX30" fmla="*/ 681419 w 7482459"/>
              <a:gd name="connsiteY30" fmla="*/ 77438 h 963549"/>
              <a:gd name="connsiteX31" fmla="*/ 655511 w 7482459"/>
              <a:gd name="connsiteY31" fmla="*/ 77438 h 963549"/>
              <a:gd name="connsiteX32" fmla="*/ 487299 w 7482459"/>
              <a:gd name="connsiteY32" fmla="*/ 77438 h 963549"/>
              <a:gd name="connsiteX33" fmla="*/ 443293 w 7482459"/>
              <a:gd name="connsiteY33" fmla="*/ 153448 h 963549"/>
              <a:gd name="connsiteX34" fmla="*/ 316421 w 7482459"/>
              <a:gd name="connsiteY34" fmla="*/ 153448 h 963549"/>
              <a:gd name="connsiteX35" fmla="*/ 265843 w 7482459"/>
              <a:gd name="connsiteY35" fmla="*/ 67056 h 963549"/>
              <a:gd name="connsiteX36" fmla="*/ 159639 w 7482459"/>
              <a:gd name="connsiteY36" fmla="*/ 67056 h 963549"/>
              <a:gd name="connsiteX37" fmla="*/ 71914 w 7482459"/>
              <a:gd name="connsiteY37" fmla="*/ 225457 h 963549"/>
              <a:gd name="connsiteX38" fmla="*/ 71914 w 7482459"/>
              <a:gd name="connsiteY38" fmla="*/ 311753 h 963549"/>
              <a:gd name="connsiteX39" fmla="*/ 121825 w 7482459"/>
              <a:gd name="connsiteY39" fmla="*/ 393192 h 963549"/>
              <a:gd name="connsiteX40" fmla="*/ 160687 w 7482459"/>
              <a:gd name="connsiteY40" fmla="*/ 393192 h 963549"/>
              <a:gd name="connsiteX41" fmla="*/ 173260 w 7482459"/>
              <a:gd name="connsiteY41" fmla="*/ 370332 h 963549"/>
              <a:gd name="connsiteX42" fmla="*/ 416433 w 7482459"/>
              <a:gd name="connsiteY42" fmla="*/ 370332 h 963549"/>
              <a:gd name="connsiteX43" fmla="*/ 465392 w 7482459"/>
              <a:gd name="connsiteY43" fmla="*/ 455676 h 963549"/>
              <a:gd name="connsiteX44" fmla="*/ 465392 w 7482459"/>
              <a:gd name="connsiteY44" fmla="*/ 556736 h 963549"/>
              <a:gd name="connsiteX45" fmla="*/ 500443 w 7482459"/>
              <a:gd name="connsiteY45" fmla="*/ 616839 h 963549"/>
              <a:gd name="connsiteX46" fmla="*/ 500443 w 7482459"/>
              <a:gd name="connsiteY46" fmla="*/ 678275 h 963549"/>
              <a:gd name="connsiteX47" fmla="*/ 563309 w 7482459"/>
              <a:gd name="connsiteY47" fmla="*/ 783527 h 963549"/>
              <a:gd name="connsiteX48" fmla="*/ 563309 w 7482459"/>
              <a:gd name="connsiteY48" fmla="*/ 847344 h 963549"/>
              <a:gd name="connsiteX49" fmla="*/ 594932 w 7482459"/>
              <a:gd name="connsiteY49" fmla="*/ 888492 h 963549"/>
              <a:gd name="connsiteX50" fmla="*/ 609124 w 7482459"/>
              <a:gd name="connsiteY50" fmla="*/ 888492 h 963549"/>
              <a:gd name="connsiteX51" fmla="*/ 628460 w 7482459"/>
              <a:gd name="connsiteY51" fmla="*/ 856488 h 963549"/>
              <a:gd name="connsiteX52" fmla="*/ 628460 w 7482459"/>
              <a:gd name="connsiteY52" fmla="*/ 810292 h 963549"/>
              <a:gd name="connsiteX53" fmla="*/ 717899 w 7482459"/>
              <a:gd name="connsiteY53" fmla="*/ 667226 h 963549"/>
              <a:gd name="connsiteX54" fmla="*/ 718566 w 7482459"/>
              <a:gd name="connsiteY54" fmla="*/ 556165 h 963549"/>
              <a:gd name="connsiteX55" fmla="*/ 790956 w 7482459"/>
              <a:gd name="connsiteY55" fmla="*/ 448056 h 963549"/>
              <a:gd name="connsiteX56" fmla="*/ 843725 w 7482459"/>
              <a:gd name="connsiteY56" fmla="*/ 447770 h 963549"/>
              <a:gd name="connsiteX57" fmla="*/ 861060 w 7482459"/>
              <a:gd name="connsiteY57" fmla="*/ 419957 h 963549"/>
              <a:gd name="connsiteX58" fmla="*/ 767239 w 7482459"/>
              <a:gd name="connsiteY58" fmla="*/ 419957 h 963549"/>
              <a:gd name="connsiteX59" fmla="*/ 691229 w 7482459"/>
              <a:gd name="connsiteY59" fmla="*/ 291370 h 963549"/>
              <a:gd name="connsiteX60" fmla="*/ 689229 w 7482459"/>
              <a:gd name="connsiteY60" fmla="*/ 210407 h 963549"/>
              <a:gd name="connsiteX61" fmla="*/ 640271 w 7482459"/>
              <a:gd name="connsiteY61" fmla="*/ 144399 h 963549"/>
              <a:gd name="connsiteX62" fmla="*/ 532352 w 7482459"/>
              <a:gd name="connsiteY62" fmla="*/ 143447 h 963549"/>
              <a:gd name="connsiteX63" fmla="*/ 483108 w 7482459"/>
              <a:gd name="connsiteY63" fmla="*/ 228410 h 963549"/>
              <a:gd name="connsiteX64" fmla="*/ 271082 w 7482459"/>
              <a:gd name="connsiteY64" fmla="*/ 228410 h 963549"/>
              <a:gd name="connsiteX65" fmla="*/ 227743 w 7482459"/>
              <a:gd name="connsiteY65" fmla="*/ 156782 h 963549"/>
              <a:gd name="connsiteX66" fmla="*/ 200216 w 7482459"/>
              <a:gd name="connsiteY66" fmla="*/ 156782 h 963549"/>
              <a:gd name="connsiteX67" fmla="*/ 152019 w 7482459"/>
              <a:gd name="connsiteY67" fmla="*/ 248126 h 963549"/>
              <a:gd name="connsiteX68" fmla="*/ 150781 w 7482459"/>
              <a:gd name="connsiteY68" fmla="*/ 298990 h 963549"/>
              <a:gd name="connsiteX69" fmla="*/ 153638 w 7482459"/>
              <a:gd name="connsiteY69" fmla="*/ 303562 h 963549"/>
              <a:gd name="connsiteX70" fmla="*/ 157353 w 7482459"/>
              <a:gd name="connsiteY70" fmla="*/ 303467 h 963549"/>
              <a:gd name="connsiteX71" fmla="*/ 161068 w 7482459"/>
              <a:gd name="connsiteY71" fmla="*/ 298990 h 963549"/>
              <a:gd name="connsiteX72" fmla="*/ 525304 w 7482459"/>
              <a:gd name="connsiteY72" fmla="*/ 299180 h 963549"/>
              <a:gd name="connsiteX73" fmla="*/ 578739 w 7482459"/>
              <a:gd name="connsiteY73" fmla="*/ 213741 h 963549"/>
              <a:gd name="connsiteX74" fmla="*/ 607314 w 7482459"/>
              <a:gd name="connsiteY74" fmla="*/ 213741 h 963549"/>
              <a:gd name="connsiteX75" fmla="*/ 629317 w 7482459"/>
              <a:gd name="connsiteY75" fmla="*/ 242697 h 963549"/>
              <a:gd name="connsiteX76" fmla="*/ 629317 w 7482459"/>
              <a:gd name="connsiteY76" fmla="*/ 322326 h 963549"/>
              <a:gd name="connsiteX77" fmla="*/ 704945 w 7482459"/>
              <a:gd name="connsiteY77" fmla="*/ 449294 h 963549"/>
              <a:gd name="connsiteX78" fmla="*/ 648938 w 7482459"/>
              <a:gd name="connsiteY78" fmla="*/ 533400 h 963549"/>
              <a:gd name="connsiteX79" fmla="*/ 647510 w 7482459"/>
              <a:gd name="connsiteY79" fmla="*/ 650558 h 963549"/>
              <a:gd name="connsiteX80" fmla="*/ 603409 w 7482459"/>
              <a:gd name="connsiteY80" fmla="*/ 716852 h 963549"/>
              <a:gd name="connsiteX81" fmla="*/ 563404 w 7482459"/>
              <a:gd name="connsiteY81" fmla="*/ 649700 h 963549"/>
              <a:gd name="connsiteX82" fmla="*/ 563404 w 7482459"/>
              <a:gd name="connsiteY82" fmla="*/ 578644 h 963549"/>
              <a:gd name="connsiteX83" fmla="*/ 537496 w 7482459"/>
              <a:gd name="connsiteY83" fmla="*/ 536258 h 963549"/>
              <a:gd name="connsiteX84" fmla="*/ 537496 w 7482459"/>
              <a:gd name="connsiteY84" fmla="*/ 436721 h 963549"/>
              <a:gd name="connsiteX85" fmla="*/ 498824 w 7482459"/>
              <a:gd name="connsiteY85" fmla="*/ 368999 h 963549"/>
              <a:gd name="connsiteX86" fmla="*/ 581120 w 7482459"/>
              <a:gd name="connsiteY86" fmla="*/ 368999 h 963549"/>
              <a:gd name="connsiteX87" fmla="*/ 627698 w 7482459"/>
              <a:gd name="connsiteY87" fmla="*/ 443579 h 963549"/>
              <a:gd name="connsiteX88" fmla="*/ 592550 w 7482459"/>
              <a:gd name="connsiteY88" fmla="*/ 496729 h 963549"/>
              <a:gd name="connsiteX0" fmla="*/ 8451880 w 8451880"/>
              <a:gd name="connsiteY0" fmla="*/ 0 h 963549"/>
              <a:gd name="connsiteX1" fmla="*/ 439579 w 8451880"/>
              <a:gd name="connsiteY1" fmla="*/ 0 h 963549"/>
              <a:gd name="connsiteX2" fmla="*/ 399955 w 8451880"/>
              <a:gd name="connsiteY2" fmla="*/ 72009 h 963549"/>
              <a:gd name="connsiteX3" fmla="*/ 351377 w 8451880"/>
              <a:gd name="connsiteY3" fmla="*/ 72390 h 963549"/>
              <a:gd name="connsiteX4" fmla="*/ 307467 w 8451880"/>
              <a:gd name="connsiteY4" fmla="*/ 0 h 963549"/>
              <a:gd name="connsiteX5" fmla="*/ 118967 w 8451880"/>
              <a:gd name="connsiteY5" fmla="*/ 0 h 963549"/>
              <a:gd name="connsiteX6" fmla="*/ 0 w 8451880"/>
              <a:gd name="connsiteY6" fmla="*/ 199739 h 963549"/>
              <a:gd name="connsiteX7" fmla="*/ 0 w 8451880"/>
              <a:gd name="connsiteY7" fmla="*/ 342138 h 963549"/>
              <a:gd name="connsiteX8" fmla="*/ 78296 w 8451880"/>
              <a:gd name="connsiteY8" fmla="*/ 463772 h 963549"/>
              <a:gd name="connsiteX9" fmla="*/ 204216 w 8451880"/>
              <a:gd name="connsiteY9" fmla="*/ 463772 h 963549"/>
              <a:gd name="connsiteX10" fmla="*/ 219647 w 8451880"/>
              <a:gd name="connsiteY10" fmla="*/ 437007 h 963549"/>
              <a:gd name="connsiteX11" fmla="*/ 381000 w 8451880"/>
              <a:gd name="connsiteY11" fmla="*/ 437007 h 963549"/>
              <a:gd name="connsiteX12" fmla="*/ 399288 w 8451880"/>
              <a:gd name="connsiteY12" fmla="*/ 469773 h 963549"/>
              <a:gd name="connsiteX13" fmla="*/ 399288 w 8451880"/>
              <a:gd name="connsiteY13" fmla="*/ 568071 h 963549"/>
              <a:gd name="connsiteX14" fmla="*/ 434245 w 8451880"/>
              <a:gd name="connsiteY14" fmla="*/ 628841 h 963549"/>
              <a:gd name="connsiteX15" fmla="*/ 434054 w 8451880"/>
              <a:gd name="connsiteY15" fmla="*/ 693325 h 963549"/>
              <a:gd name="connsiteX16" fmla="*/ 492728 w 8451880"/>
              <a:gd name="connsiteY16" fmla="*/ 800005 h 963549"/>
              <a:gd name="connsiteX17" fmla="*/ 492728 w 8451880"/>
              <a:gd name="connsiteY17" fmla="*/ 884873 h 963549"/>
              <a:gd name="connsiteX18" fmla="*/ 559118 w 8451880"/>
              <a:gd name="connsiteY18" fmla="*/ 962978 h 963549"/>
              <a:gd name="connsiteX19" fmla="*/ 645414 w 8451880"/>
              <a:gd name="connsiteY19" fmla="*/ 963549 h 963549"/>
              <a:gd name="connsiteX20" fmla="*/ 688372 w 8451880"/>
              <a:gd name="connsiteY20" fmla="*/ 892112 h 963549"/>
              <a:gd name="connsiteX21" fmla="*/ 688372 w 8451880"/>
              <a:gd name="connsiteY21" fmla="*/ 837914 h 963549"/>
              <a:gd name="connsiteX22" fmla="*/ 784479 w 8451880"/>
              <a:gd name="connsiteY22" fmla="*/ 687229 h 963549"/>
              <a:gd name="connsiteX23" fmla="*/ 784479 w 8451880"/>
              <a:gd name="connsiteY23" fmla="*/ 586169 h 963549"/>
              <a:gd name="connsiteX24" fmla="*/ 831152 w 8451880"/>
              <a:gd name="connsiteY24" fmla="*/ 512636 h 963549"/>
              <a:gd name="connsiteX25" fmla="*/ 886968 w 8451880"/>
              <a:gd name="connsiteY25" fmla="*/ 513207 h 963549"/>
              <a:gd name="connsiteX26" fmla="*/ 979075 w 8451880"/>
              <a:gd name="connsiteY26" fmla="*/ 352139 h 963549"/>
              <a:gd name="connsiteX27" fmla="*/ 809530 w 8451880"/>
              <a:gd name="connsiteY27" fmla="*/ 352139 h 963549"/>
              <a:gd name="connsiteX28" fmla="*/ 761333 w 8451880"/>
              <a:gd name="connsiteY28" fmla="*/ 269367 h 963549"/>
              <a:gd name="connsiteX29" fmla="*/ 761429 w 8451880"/>
              <a:gd name="connsiteY29" fmla="*/ 189357 h 963549"/>
              <a:gd name="connsiteX30" fmla="*/ 681419 w 8451880"/>
              <a:gd name="connsiteY30" fmla="*/ 77438 h 963549"/>
              <a:gd name="connsiteX31" fmla="*/ 655511 w 8451880"/>
              <a:gd name="connsiteY31" fmla="*/ 77438 h 963549"/>
              <a:gd name="connsiteX32" fmla="*/ 487299 w 8451880"/>
              <a:gd name="connsiteY32" fmla="*/ 77438 h 963549"/>
              <a:gd name="connsiteX33" fmla="*/ 443293 w 8451880"/>
              <a:gd name="connsiteY33" fmla="*/ 153448 h 963549"/>
              <a:gd name="connsiteX34" fmla="*/ 316421 w 8451880"/>
              <a:gd name="connsiteY34" fmla="*/ 153448 h 963549"/>
              <a:gd name="connsiteX35" fmla="*/ 265843 w 8451880"/>
              <a:gd name="connsiteY35" fmla="*/ 67056 h 963549"/>
              <a:gd name="connsiteX36" fmla="*/ 159639 w 8451880"/>
              <a:gd name="connsiteY36" fmla="*/ 67056 h 963549"/>
              <a:gd name="connsiteX37" fmla="*/ 71914 w 8451880"/>
              <a:gd name="connsiteY37" fmla="*/ 225457 h 963549"/>
              <a:gd name="connsiteX38" fmla="*/ 71914 w 8451880"/>
              <a:gd name="connsiteY38" fmla="*/ 311753 h 963549"/>
              <a:gd name="connsiteX39" fmla="*/ 121825 w 8451880"/>
              <a:gd name="connsiteY39" fmla="*/ 393192 h 963549"/>
              <a:gd name="connsiteX40" fmla="*/ 160687 w 8451880"/>
              <a:gd name="connsiteY40" fmla="*/ 393192 h 963549"/>
              <a:gd name="connsiteX41" fmla="*/ 173260 w 8451880"/>
              <a:gd name="connsiteY41" fmla="*/ 370332 h 963549"/>
              <a:gd name="connsiteX42" fmla="*/ 416433 w 8451880"/>
              <a:gd name="connsiteY42" fmla="*/ 370332 h 963549"/>
              <a:gd name="connsiteX43" fmla="*/ 465392 w 8451880"/>
              <a:gd name="connsiteY43" fmla="*/ 455676 h 963549"/>
              <a:gd name="connsiteX44" fmla="*/ 465392 w 8451880"/>
              <a:gd name="connsiteY44" fmla="*/ 556736 h 963549"/>
              <a:gd name="connsiteX45" fmla="*/ 500443 w 8451880"/>
              <a:gd name="connsiteY45" fmla="*/ 616839 h 963549"/>
              <a:gd name="connsiteX46" fmla="*/ 500443 w 8451880"/>
              <a:gd name="connsiteY46" fmla="*/ 678275 h 963549"/>
              <a:gd name="connsiteX47" fmla="*/ 563309 w 8451880"/>
              <a:gd name="connsiteY47" fmla="*/ 783527 h 963549"/>
              <a:gd name="connsiteX48" fmla="*/ 563309 w 8451880"/>
              <a:gd name="connsiteY48" fmla="*/ 847344 h 963549"/>
              <a:gd name="connsiteX49" fmla="*/ 594932 w 8451880"/>
              <a:gd name="connsiteY49" fmla="*/ 888492 h 963549"/>
              <a:gd name="connsiteX50" fmla="*/ 609124 w 8451880"/>
              <a:gd name="connsiteY50" fmla="*/ 888492 h 963549"/>
              <a:gd name="connsiteX51" fmla="*/ 628460 w 8451880"/>
              <a:gd name="connsiteY51" fmla="*/ 856488 h 963549"/>
              <a:gd name="connsiteX52" fmla="*/ 628460 w 8451880"/>
              <a:gd name="connsiteY52" fmla="*/ 810292 h 963549"/>
              <a:gd name="connsiteX53" fmla="*/ 717899 w 8451880"/>
              <a:gd name="connsiteY53" fmla="*/ 667226 h 963549"/>
              <a:gd name="connsiteX54" fmla="*/ 718566 w 8451880"/>
              <a:gd name="connsiteY54" fmla="*/ 556165 h 963549"/>
              <a:gd name="connsiteX55" fmla="*/ 790956 w 8451880"/>
              <a:gd name="connsiteY55" fmla="*/ 448056 h 963549"/>
              <a:gd name="connsiteX56" fmla="*/ 843725 w 8451880"/>
              <a:gd name="connsiteY56" fmla="*/ 447770 h 963549"/>
              <a:gd name="connsiteX57" fmla="*/ 861060 w 8451880"/>
              <a:gd name="connsiteY57" fmla="*/ 419957 h 963549"/>
              <a:gd name="connsiteX58" fmla="*/ 767239 w 8451880"/>
              <a:gd name="connsiteY58" fmla="*/ 419957 h 963549"/>
              <a:gd name="connsiteX59" fmla="*/ 691229 w 8451880"/>
              <a:gd name="connsiteY59" fmla="*/ 291370 h 963549"/>
              <a:gd name="connsiteX60" fmla="*/ 689229 w 8451880"/>
              <a:gd name="connsiteY60" fmla="*/ 210407 h 963549"/>
              <a:gd name="connsiteX61" fmla="*/ 640271 w 8451880"/>
              <a:gd name="connsiteY61" fmla="*/ 144399 h 963549"/>
              <a:gd name="connsiteX62" fmla="*/ 532352 w 8451880"/>
              <a:gd name="connsiteY62" fmla="*/ 143447 h 963549"/>
              <a:gd name="connsiteX63" fmla="*/ 483108 w 8451880"/>
              <a:gd name="connsiteY63" fmla="*/ 228410 h 963549"/>
              <a:gd name="connsiteX64" fmla="*/ 271082 w 8451880"/>
              <a:gd name="connsiteY64" fmla="*/ 228410 h 963549"/>
              <a:gd name="connsiteX65" fmla="*/ 227743 w 8451880"/>
              <a:gd name="connsiteY65" fmla="*/ 156782 h 963549"/>
              <a:gd name="connsiteX66" fmla="*/ 200216 w 8451880"/>
              <a:gd name="connsiteY66" fmla="*/ 156782 h 963549"/>
              <a:gd name="connsiteX67" fmla="*/ 152019 w 8451880"/>
              <a:gd name="connsiteY67" fmla="*/ 248126 h 963549"/>
              <a:gd name="connsiteX68" fmla="*/ 150781 w 8451880"/>
              <a:gd name="connsiteY68" fmla="*/ 298990 h 963549"/>
              <a:gd name="connsiteX69" fmla="*/ 153638 w 8451880"/>
              <a:gd name="connsiteY69" fmla="*/ 303562 h 963549"/>
              <a:gd name="connsiteX70" fmla="*/ 157353 w 8451880"/>
              <a:gd name="connsiteY70" fmla="*/ 303467 h 963549"/>
              <a:gd name="connsiteX71" fmla="*/ 161068 w 8451880"/>
              <a:gd name="connsiteY71" fmla="*/ 298990 h 963549"/>
              <a:gd name="connsiteX72" fmla="*/ 525304 w 8451880"/>
              <a:gd name="connsiteY72" fmla="*/ 299180 h 963549"/>
              <a:gd name="connsiteX73" fmla="*/ 578739 w 8451880"/>
              <a:gd name="connsiteY73" fmla="*/ 213741 h 963549"/>
              <a:gd name="connsiteX74" fmla="*/ 607314 w 8451880"/>
              <a:gd name="connsiteY74" fmla="*/ 213741 h 963549"/>
              <a:gd name="connsiteX75" fmla="*/ 629317 w 8451880"/>
              <a:gd name="connsiteY75" fmla="*/ 242697 h 963549"/>
              <a:gd name="connsiteX76" fmla="*/ 629317 w 8451880"/>
              <a:gd name="connsiteY76" fmla="*/ 322326 h 963549"/>
              <a:gd name="connsiteX77" fmla="*/ 704945 w 8451880"/>
              <a:gd name="connsiteY77" fmla="*/ 449294 h 963549"/>
              <a:gd name="connsiteX78" fmla="*/ 648938 w 8451880"/>
              <a:gd name="connsiteY78" fmla="*/ 533400 h 963549"/>
              <a:gd name="connsiteX79" fmla="*/ 647510 w 8451880"/>
              <a:gd name="connsiteY79" fmla="*/ 650558 h 963549"/>
              <a:gd name="connsiteX80" fmla="*/ 603409 w 8451880"/>
              <a:gd name="connsiteY80" fmla="*/ 716852 h 963549"/>
              <a:gd name="connsiteX81" fmla="*/ 563404 w 8451880"/>
              <a:gd name="connsiteY81" fmla="*/ 649700 h 963549"/>
              <a:gd name="connsiteX82" fmla="*/ 563404 w 8451880"/>
              <a:gd name="connsiteY82" fmla="*/ 578644 h 963549"/>
              <a:gd name="connsiteX83" fmla="*/ 537496 w 8451880"/>
              <a:gd name="connsiteY83" fmla="*/ 536258 h 963549"/>
              <a:gd name="connsiteX84" fmla="*/ 537496 w 8451880"/>
              <a:gd name="connsiteY84" fmla="*/ 436721 h 963549"/>
              <a:gd name="connsiteX85" fmla="*/ 498824 w 8451880"/>
              <a:gd name="connsiteY85" fmla="*/ 368999 h 963549"/>
              <a:gd name="connsiteX86" fmla="*/ 581120 w 8451880"/>
              <a:gd name="connsiteY86" fmla="*/ 368999 h 963549"/>
              <a:gd name="connsiteX87" fmla="*/ 627698 w 8451880"/>
              <a:gd name="connsiteY87" fmla="*/ 443579 h 963549"/>
              <a:gd name="connsiteX88" fmla="*/ 592550 w 8451880"/>
              <a:gd name="connsiteY88" fmla="*/ 496729 h 963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8451880" h="963549">
                <a:moveTo>
                  <a:pt x="8451880" y="0"/>
                </a:moveTo>
                <a:lnTo>
                  <a:pt x="439579" y="0"/>
                </a:lnTo>
                <a:lnTo>
                  <a:pt x="399955" y="72009"/>
                </a:lnTo>
                <a:lnTo>
                  <a:pt x="351377" y="72390"/>
                </a:lnTo>
                <a:lnTo>
                  <a:pt x="307467" y="0"/>
                </a:lnTo>
                <a:lnTo>
                  <a:pt x="118967" y="0"/>
                </a:lnTo>
                <a:lnTo>
                  <a:pt x="0" y="199739"/>
                </a:lnTo>
                <a:lnTo>
                  <a:pt x="0" y="342138"/>
                </a:lnTo>
                <a:lnTo>
                  <a:pt x="78296" y="463772"/>
                </a:lnTo>
                <a:lnTo>
                  <a:pt x="204216" y="463772"/>
                </a:lnTo>
                <a:lnTo>
                  <a:pt x="219647" y="437007"/>
                </a:lnTo>
                <a:lnTo>
                  <a:pt x="381000" y="437007"/>
                </a:lnTo>
                <a:lnTo>
                  <a:pt x="399288" y="469773"/>
                </a:lnTo>
                <a:lnTo>
                  <a:pt x="399288" y="568071"/>
                </a:lnTo>
                <a:lnTo>
                  <a:pt x="434245" y="628841"/>
                </a:lnTo>
                <a:cubicBezTo>
                  <a:pt x="434181" y="650336"/>
                  <a:pt x="434118" y="671830"/>
                  <a:pt x="434054" y="693325"/>
                </a:cubicBezTo>
                <a:lnTo>
                  <a:pt x="492728" y="800005"/>
                </a:lnTo>
                <a:lnTo>
                  <a:pt x="492728" y="884873"/>
                </a:lnTo>
                <a:lnTo>
                  <a:pt x="559118" y="962978"/>
                </a:lnTo>
                <a:lnTo>
                  <a:pt x="645414" y="963549"/>
                </a:lnTo>
                <a:lnTo>
                  <a:pt x="688372" y="892112"/>
                </a:lnTo>
                <a:lnTo>
                  <a:pt x="688372" y="837914"/>
                </a:lnTo>
                <a:lnTo>
                  <a:pt x="784479" y="687229"/>
                </a:lnTo>
                <a:lnTo>
                  <a:pt x="784479" y="586169"/>
                </a:lnTo>
                <a:lnTo>
                  <a:pt x="831152" y="512636"/>
                </a:lnTo>
                <a:lnTo>
                  <a:pt x="886968" y="513207"/>
                </a:lnTo>
                <a:lnTo>
                  <a:pt x="979075" y="352139"/>
                </a:lnTo>
                <a:lnTo>
                  <a:pt x="809530" y="352139"/>
                </a:lnTo>
                <a:lnTo>
                  <a:pt x="761333" y="269367"/>
                </a:lnTo>
                <a:lnTo>
                  <a:pt x="761429" y="189357"/>
                </a:lnTo>
                <a:lnTo>
                  <a:pt x="681419" y="77438"/>
                </a:lnTo>
                <a:lnTo>
                  <a:pt x="655511" y="77438"/>
                </a:lnTo>
                <a:lnTo>
                  <a:pt x="487299" y="77438"/>
                </a:lnTo>
                <a:lnTo>
                  <a:pt x="443293" y="153448"/>
                </a:lnTo>
                <a:lnTo>
                  <a:pt x="316421" y="153448"/>
                </a:lnTo>
                <a:lnTo>
                  <a:pt x="265843" y="67056"/>
                </a:lnTo>
                <a:lnTo>
                  <a:pt x="159639" y="67056"/>
                </a:lnTo>
                <a:lnTo>
                  <a:pt x="71914" y="225457"/>
                </a:lnTo>
                <a:lnTo>
                  <a:pt x="71914" y="311753"/>
                </a:lnTo>
                <a:lnTo>
                  <a:pt x="121825" y="393192"/>
                </a:lnTo>
                <a:lnTo>
                  <a:pt x="160687" y="393192"/>
                </a:lnTo>
                <a:lnTo>
                  <a:pt x="173260" y="370332"/>
                </a:lnTo>
                <a:lnTo>
                  <a:pt x="416433" y="370332"/>
                </a:lnTo>
                <a:lnTo>
                  <a:pt x="465392" y="455676"/>
                </a:lnTo>
                <a:lnTo>
                  <a:pt x="465392" y="556736"/>
                </a:lnTo>
                <a:lnTo>
                  <a:pt x="500443" y="616839"/>
                </a:lnTo>
                <a:lnTo>
                  <a:pt x="500443" y="678275"/>
                </a:lnTo>
                <a:lnTo>
                  <a:pt x="563309" y="783527"/>
                </a:lnTo>
                <a:lnTo>
                  <a:pt x="563309" y="847344"/>
                </a:lnTo>
                <a:lnTo>
                  <a:pt x="594932" y="888492"/>
                </a:lnTo>
                <a:lnTo>
                  <a:pt x="609124" y="888492"/>
                </a:lnTo>
                <a:lnTo>
                  <a:pt x="628460" y="856488"/>
                </a:lnTo>
                <a:lnTo>
                  <a:pt x="628460" y="810292"/>
                </a:lnTo>
                <a:lnTo>
                  <a:pt x="717899" y="667226"/>
                </a:lnTo>
                <a:cubicBezTo>
                  <a:pt x="718121" y="630206"/>
                  <a:pt x="718344" y="593185"/>
                  <a:pt x="718566" y="556165"/>
                </a:cubicBezTo>
                <a:lnTo>
                  <a:pt x="790956" y="448056"/>
                </a:lnTo>
                <a:lnTo>
                  <a:pt x="843725" y="447770"/>
                </a:lnTo>
                <a:lnTo>
                  <a:pt x="861060" y="419957"/>
                </a:lnTo>
                <a:lnTo>
                  <a:pt x="767239" y="419957"/>
                </a:lnTo>
                <a:lnTo>
                  <a:pt x="691229" y="291370"/>
                </a:lnTo>
                <a:cubicBezTo>
                  <a:pt x="690562" y="264382"/>
                  <a:pt x="689896" y="237395"/>
                  <a:pt x="689229" y="210407"/>
                </a:cubicBezTo>
                <a:lnTo>
                  <a:pt x="640271" y="144399"/>
                </a:lnTo>
                <a:lnTo>
                  <a:pt x="532352" y="143447"/>
                </a:lnTo>
                <a:lnTo>
                  <a:pt x="483108" y="228410"/>
                </a:lnTo>
                <a:lnTo>
                  <a:pt x="271082" y="228410"/>
                </a:lnTo>
                <a:lnTo>
                  <a:pt x="227743" y="156782"/>
                </a:lnTo>
                <a:lnTo>
                  <a:pt x="200216" y="156782"/>
                </a:lnTo>
                <a:lnTo>
                  <a:pt x="152019" y="248126"/>
                </a:lnTo>
                <a:cubicBezTo>
                  <a:pt x="151606" y="265081"/>
                  <a:pt x="151194" y="282035"/>
                  <a:pt x="150781" y="298990"/>
                </a:cubicBezTo>
                <a:lnTo>
                  <a:pt x="153638" y="303562"/>
                </a:lnTo>
                <a:lnTo>
                  <a:pt x="157353" y="303467"/>
                </a:lnTo>
                <a:lnTo>
                  <a:pt x="161068" y="298990"/>
                </a:lnTo>
                <a:lnTo>
                  <a:pt x="525304" y="299180"/>
                </a:lnTo>
                <a:lnTo>
                  <a:pt x="578739" y="213741"/>
                </a:lnTo>
                <a:lnTo>
                  <a:pt x="607314" y="213741"/>
                </a:lnTo>
                <a:lnTo>
                  <a:pt x="629317" y="242697"/>
                </a:lnTo>
                <a:lnTo>
                  <a:pt x="629317" y="322326"/>
                </a:lnTo>
                <a:lnTo>
                  <a:pt x="704945" y="449294"/>
                </a:lnTo>
                <a:lnTo>
                  <a:pt x="648938" y="533400"/>
                </a:lnTo>
                <a:lnTo>
                  <a:pt x="647510" y="650558"/>
                </a:lnTo>
                <a:lnTo>
                  <a:pt x="603409" y="716852"/>
                </a:lnTo>
                <a:lnTo>
                  <a:pt x="563404" y="649700"/>
                </a:lnTo>
                <a:lnTo>
                  <a:pt x="563404" y="578644"/>
                </a:lnTo>
                <a:lnTo>
                  <a:pt x="537496" y="536258"/>
                </a:lnTo>
                <a:lnTo>
                  <a:pt x="537496" y="436721"/>
                </a:lnTo>
                <a:lnTo>
                  <a:pt x="498824" y="368999"/>
                </a:lnTo>
                <a:lnTo>
                  <a:pt x="581120" y="368999"/>
                </a:lnTo>
                <a:lnTo>
                  <a:pt x="627698" y="443579"/>
                </a:lnTo>
                <a:lnTo>
                  <a:pt x="592550" y="496729"/>
                </a:lnTo>
              </a:path>
            </a:pathLst>
          </a:custGeom>
          <a:noFill/>
          <a:ln w="7144" cap="flat">
            <a:solidFill>
              <a:srgbClr val="E63C2B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4954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C4A12B0-5BA2-5100-AAD4-E12E3C1737AF}"/>
              </a:ext>
            </a:extLst>
          </p:cNvPr>
          <p:cNvSpPr/>
          <p:nvPr userDrawn="1"/>
        </p:nvSpPr>
        <p:spPr>
          <a:xfrm>
            <a:off x="0" y="0"/>
            <a:ext cx="12192001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29B7C479-2D3F-2960-139A-D5BB63A41E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82543" y="-1"/>
            <a:ext cx="4909457" cy="6858257"/>
          </a:xfrm>
          <a:custGeom>
            <a:avLst/>
            <a:gdLst>
              <a:gd name="connsiteX0" fmla="*/ 0 w 4401300"/>
              <a:gd name="connsiteY0" fmla="*/ 0 h 6148388"/>
              <a:gd name="connsiteX1" fmla="*/ 4401300 w 4401300"/>
              <a:gd name="connsiteY1" fmla="*/ 0 h 6148388"/>
              <a:gd name="connsiteX2" fmla="*/ 4401300 w 4401300"/>
              <a:gd name="connsiteY2" fmla="*/ 6148388 h 6148388"/>
              <a:gd name="connsiteX3" fmla="*/ 3799566 w 4401300"/>
              <a:gd name="connsiteY3" fmla="*/ 6148388 h 614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01300" h="6148388">
                <a:moveTo>
                  <a:pt x="0" y="0"/>
                </a:moveTo>
                <a:lnTo>
                  <a:pt x="4401300" y="0"/>
                </a:lnTo>
                <a:lnTo>
                  <a:pt x="4401300" y="6148388"/>
                </a:lnTo>
                <a:lnTo>
                  <a:pt x="3799566" y="6148388"/>
                </a:lnTo>
                <a:close/>
              </a:path>
            </a:pathLst>
          </a:cu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FD2AA106-02DD-9456-5F7D-D1D25492CDB8}"/>
              </a:ext>
            </a:extLst>
          </p:cNvPr>
          <p:cNvSpPr/>
          <p:nvPr userDrawn="1"/>
        </p:nvSpPr>
        <p:spPr>
          <a:xfrm>
            <a:off x="11521842" y="6474757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5D950A5-2828-221A-996F-175C05E4BB43}"/>
              </a:ext>
            </a:extLst>
          </p:cNvPr>
          <p:cNvSpPr/>
          <p:nvPr userDrawn="1"/>
        </p:nvSpPr>
        <p:spPr>
          <a:xfrm>
            <a:off x="11588593" y="65348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>
              <a:solidFill>
                <a:schemeClr val="bg1"/>
              </a:solidFill>
              <a:latin typeface="Tahoma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470FF30-5A43-9A43-5905-5F595AC73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795" y="2844800"/>
            <a:ext cx="6212351" cy="4101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65" name="Text Placeholder 13">
            <a:extLst>
              <a:ext uri="{FF2B5EF4-FFF2-40B4-BE49-F238E27FC236}">
                <a16:creationId xmlns:a16="http://schemas.microsoft.com/office/drawing/2014/main" id="{0A8EDC15-9113-2840-B13A-8731DFA92A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3795" y="3548530"/>
            <a:ext cx="5889053" cy="410136"/>
          </a:xfrm>
          <a:prstGeom prst="rect">
            <a:avLst/>
          </a:prstGeom>
        </p:spPr>
        <p:txBody>
          <a:bodyPr wrap="none"/>
          <a:lstStyle>
            <a:lvl1pPr>
              <a:defRPr sz="16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</p:spTree>
    <p:extLst>
      <p:ext uri="{BB962C8B-B14F-4D97-AF65-F5344CB8AC3E}">
        <p14:creationId xmlns:p14="http://schemas.microsoft.com/office/powerpoint/2010/main" val="36523945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2D027E8-2D4E-9357-81F5-234479FBBA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3634" y="528118"/>
            <a:ext cx="5907785" cy="3522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F0BAC52-79D1-6BFD-F36B-C7F59E7AB7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8755" y="1778000"/>
            <a:ext cx="42037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8657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370647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60872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921209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E1EFCF2-014A-C6FC-8AA7-CCC868BA8A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158786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16671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2D027E8-2D4E-9357-81F5-234479FBBA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5" y="845445"/>
            <a:ext cx="10079724" cy="3522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1F9625-3BD0-8CEF-BB6E-C2D380C404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3474" y="1778000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8657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370647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60872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921209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CFE821C-A126-325A-A5F7-2E8FCBEC6A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0000" y="1778000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8657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370647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60872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921209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77C89CF-65C0-65A1-9053-1E5547FD1A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6526" y="1778000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8657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370647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60872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921209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10E32AF-ABB5-810B-6647-AA7A03E11C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42775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15" descr="Aerial view of container ship">
            <a:extLst>
              <a:ext uri="{FF2B5EF4-FFF2-40B4-BE49-F238E27FC236}">
                <a16:creationId xmlns:a16="http://schemas.microsoft.com/office/drawing/2014/main" id="{7B4597E5-7462-D917-B3FC-691CFD46CE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9484549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CE057FC0-0CF3-598B-7894-CC63D03D9B7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10100" y="1777883"/>
            <a:ext cx="7581900" cy="3902075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1CA1FCD-EF11-F77D-A3FA-03915A1E75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7951" y="2466814"/>
            <a:ext cx="4139578" cy="3213144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00000"/>
              </a:lnSpc>
              <a:spcBef>
                <a:spcPts val="56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1800"/>
              <a:t>Normal text here and here and here and here</a:t>
            </a:r>
            <a:endParaRPr lang="en-GB" sz="2400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7ADA2A2-B019-3E85-7EB4-24AC52AC21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792" y="1776016"/>
            <a:ext cx="4139578" cy="690797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E2CF7-1553-356D-C0BE-FEE5FC3377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7421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031-043D-4150-8D51-38680CAB1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436" y="1061440"/>
            <a:ext cx="10822684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C6647BB-83A6-68CE-A0DA-BA6CBD6AE7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1435" y="2112087"/>
            <a:ext cx="10822684" cy="2361671"/>
          </a:xfrm>
          <a:prstGeom prst="rect">
            <a:avLst/>
          </a:prstGeom>
        </p:spPr>
        <p:txBody>
          <a:bodyPr/>
          <a:lstStyle>
            <a:lvl1pPr marL="7521" marR="361381" indent="-189904" algn="ctr">
              <a:lnSpc>
                <a:spcPct val="165300"/>
              </a:lnSpc>
              <a:spcBef>
                <a:spcPts val="56"/>
              </a:spcBef>
              <a:buNone/>
              <a:defRPr sz="20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/>
              <a:t>Lorem ipsum dolor sit </a:t>
            </a:r>
            <a:r>
              <a:rPr lang="en-US" sz="2400" err="1"/>
              <a:t>amet</a:t>
            </a:r>
            <a:r>
              <a:rPr lang="en-US" sz="2400"/>
              <a:t>, </a:t>
            </a:r>
            <a:r>
              <a:rPr lang="en-US" sz="2400" err="1"/>
              <a:t>consectetuer</a:t>
            </a:r>
            <a:r>
              <a:rPr lang="en-US" sz="2400"/>
              <a:t> </a:t>
            </a:r>
            <a:r>
              <a:rPr lang="en-US" sz="2400" err="1"/>
              <a:t>adipiscing</a:t>
            </a:r>
            <a:r>
              <a:rPr lang="en-US" sz="2400"/>
              <a:t> </a:t>
            </a:r>
            <a:r>
              <a:rPr lang="en-US" sz="2400" err="1"/>
              <a:t>elit</a:t>
            </a:r>
            <a:r>
              <a:rPr lang="en-US" sz="2400"/>
              <a:t>, sed diam </a:t>
            </a:r>
            <a:r>
              <a:rPr lang="en-US" sz="2400" err="1"/>
              <a:t>nonummy</a:t>
            </a:r>
            <a:r>
              <a:rPr lang="en-US" sz="2400"/>
              <a:t> </a:t>
            </a:r>
            <a:r>
              <a:rPr lang="en-US" sz="2400" err="1"/>
              <a:t>nibh</a:t>
            </a:r>
            <a:r>
              <a:rPr lang="en-US" sz="2400"/>
              <a:t> </a:t>
            </a:r>
            <a:r>
              <a:rPr lang="en-US" sz="2400" err="1"/>
              <a:t>euismod</a:t>
            </a:r>
            <a:r>
              <a:rPr lang="en-US" sz="2400"/>
              <a:t> </a:t>
            </a:r>
            <a:r>
              <a:rPr lang="en-US" sz="2400" err="1"/>
              <a:t>tincidunt</a:t>
            </a:r>
            <a:r>
              <a:rPr lang="en-US" sz="2400"/>
              <a:t> </a:t>
            </a:r>
            <a:r>
              <a:rPr lang="en-US" sz="2400" err="1"/>
              <a:t>ut</a:t>
            </a:r>
            <a:r>
              <a:rPr lang="en-US" sz="2400"/>
              <a:t> </a:t>
            </a:r>
            <a:r>
              <a:rPr lang="en-US" sz="2400" err="1"/>
              <a:t>laoreet</a:t>
            </a:r>
            <a:r>
              <a:rPr lang="en-US" sz="2400"/>
              <a:t> dolore magna </a:t>
            </a:r>
            <a:r>
              <a:rPr lang="en-US" sz="2400" err="1"/>
              <a:t>aliquam</a:t>
            </a:r>
            <a:r>
              <a:rPr lang="en-US" sz="2400"/>
              <a:t> </a:t>
            </a:r>
            <a:r>
              <a:rPr lang="en-US" sz="2400" err="1"/>
              <a:t>erat</a:t>
            </a:r>
            <a:r>
              <a:rPr lang="en-US" sz="2400"/>
              <a:t> </a:t>
            </a:r>
            <a:r>
              <a:rPr lang="en-US" sz="2400" err="1"/>
              <a:t>volutpat</a:t>
            </a:r>
            <a:r>
              <a:rPr lang="en-US" sz="2400"/>
              <a:t>. Ut </a:t>
            </a:r>
            <a:r>
              <a:rPr lang="en-US" sz="2400" err="1"/>
              <a:t>wisi</a:t>
            </a:r>
            <a:r>
              <a:rPr lang="en-US" sz="2400"/>
              <a:t> </a:t>
            </a:r>
            <a:r>
              <a:rPr lang="en-US" sz="2400" err="1"/>
              <a:t>enim</a:t>
            </a:r>
            <a:r>
              <a:rPr lang="en-US" sz="2400"/>
              <a:t> ad minim </a:t>
            </a:r>
            <a:r>
              <a:rPr lang="en-US" sz="2400" err="1"/>
              <a:t>veniam</a:t>
            </a:r>
            <a:r>
              <a:rPr lang="en-US" sz="2400"/>
              <a:t>, </a:t>
            </a:r>
            <a:r>
              <a:rPr lang="en-US" sz="2400" err="1"/>
              <a:t>quis</a:t>
            </a:r>
            <a:r>
              <a:rPr lang="en-US" sz="2400"/>
              <a:t> </a:t>
            </a:r>
            <a:r>
              <a:rPr lang="en-US" sz="2400" err="1"/>
              <a:t>nostrud</a:t>
            </a:r>
            <a:r>
              <a:rPr lang="en-US" sz="2400"/>
              <a:t> </a:t>
            </a:r>
            <a:r>
              <a:rPr lang="en-US" sz="2400" err="1"/>
              <a:t>exerci</a:t>
            </a:r>
            <a:r>
              <a:rPr lang="en-US" sz="2400"/>
              <a:t> </a:t>
            </a:r>
            <a:r>
              <a:rPr lang="en-US" sz="2400" err="1"/>
              <a:t>tation</a:t>
            </a:r>
            <a:r>
              <a:rPr lang="en-US" sz="2400"/>
              <a:t> </a:t>
            </a:r>
            <a:r>
              <a:rPr lang="en-US" sz="2400" err="1"/>
              <a:t>ullamcorper</a:t>
            </a:r>
            <a:r>
              <a:rPr lang="en-US" sz="2400"/>
              <a:t> </a:t>
            </a:r>
            <a:r>
              <a:rPr lang="en-US" sz="2400" err="1"/>
              <a:t>suscipit</a:t>
            </a:r>
            <a:r>
              <a:rPr lang="en-US" sz="2400"/>
              <a:t> </a:t>
            </a:r>
            <a:r>
              <a:rPr lang="en-US" sz="2400" err="1"/>
              <a:t>lobortis</a:t>
            </a:r>
            <a:r>
              <a:rPr lang="en-US" sz="2400"/>
              <a:t> </a:t>
            </a:r>
            <a:r>
              <a:rPr lang="en-US" sz="2400" err="1"/>
              <a:t>nisl</a:t>
            </a:r>
            <a:r>
              <a:rPr lang="en-US" sz="2400"/>
              <a:t> </a:t>
            </a:r>
            <a:r>
              <a:rPr lang="en-US" sz="2400" err="1"/>
              <a:t>ut</a:t>
            </a:r>
            <a:r>
              <a:rPr lang="en-US" sz="2400"/>
              <a:t> </a:t>
            </a:r>
            <a:r>
              <a:rPr lang="en-US" sz="2400" err="1"/>
              <a:t>aliquip</a:t>
            </a:r>
            <a:r>
              <a:rPr lang="en-US" sz="2400"/>
              <a:t> ex </a:t>
            </a:r>
            <a:r>
              <a:rPr lang="en-US" sz="2400" err="1"/>
              <a:t>ea</a:t>
            </a:r>
            <a:r>
              <a:rPr lang="en-US" sz="2400"/>
              <a:t> </a:t>
            </a:r>
            <a:r>
              <a:rPr lang="en-US" sz="2400" err="1"/>
              <a:t>commodo</a:t>
            </a:r>
            <a:r>
              <a:rPr lang="en-US" sz="2400"/>
              <a:t> </a:t>
            </a:r>
            <a:r>
              <a:rPr lang="en-US" sz="2400" err="1"/>
              <a:t>consequat</a:t>
            </a:r>
            <a:r>
              <a:rPr lang="en-US" sz="2400"/>
              <a:t>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BA122D4-C660-4B51-E621-0749C8299F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96657" y="4689172"/>
            <a:ext cx="1763624" cy="23852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>
              <a:defRPr sz="900" b="0" i="1">
                <a:solidFill>
                  <a:srgbClr val="66594C"/>
                </a:solidFill>
                <a:latin typeface="Apex New Medium Italic" panose="02010600040501010103" pitchFamily="2" charset="77"/>
                <a:ea typeface="Apex New Medium Italic" panose="02010600040501010103" pitchFamily="2" charset="77"/>
              </a:defRPr>
            </a:lvl1pPr>
          </a:lstStyle>
          <a:p>
            <a:pPr lvl="0"/>
            <a:r>
              <a:rPr lang="en-GB"/>
              <a:t>Click to edit master text styles.  </a:t>
            </a:r>
          </a:p>
        </p:txBody>
      </p:sp>
    </p:spTree>
    <p:extLst>
      <p:ext uri="{BB962C8B-B14F-4D97-AF65-F5344CB8AC3E}">
        <p14:creationId xmlns:p14="http://schemas.microsoft.com/office/powerpoint/2010/main" val="130523922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4E62448-174A-A466-FFFC-726AD16245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7820E3CC-DF6C-09AC-D76A-4F15CB3254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5" y="831283"/>
            <a:ext cx="5889053" cy="410136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</p:spTree>
    <p:extLst>
      <p:ext uri="{BB962C8B-B14F-4D97-AF65-F5344CB8AC3E}">
        <p14:creationId xmlns:p14="http://schemas.microsoft.com/office/powerpoint/2010/main" val="319710427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83867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5037CE3-375D-2BB2-1C58-73F4A24152B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9356F0B1-A2E8-1558-F23B-6FD74C52E4B8}"/>
              </a:ext>
            </a:extLst>
          </p:cNvPr>
          <p:cNvSpPr/>
          <p:nvPr userDrawn="1"/>
        </p:nvSpPr>
        <p:spPr>
          <a:xfrm>
            <a:off x="11521842" y="6474757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325288-7D19-894A-52D8-9A820BF0B847}"/>
              </a:ext>
            </a:extLst>
          </p:cNvPr>
          <p:cNvSpPr/>
          <p:nvPr userDrawn="1"/>
        </p:nvSpPr>
        <p:spPr>
          <a:xfrm>
            <a:off x="11588593" y="65348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>
              <a:solidFill>
                <a:schemeClr val="bg1"/>
              </a:solidFill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958172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5037CE3-375D-2BB2-1C58-73F4A24152BA}"/>
              </a:ext>
            </a:extLst>
          </p:cNvPr>
          <p:cNvSpPr/>
          <p:nvPr userDrawn="1"/>
        </p:nvSpPr>
        <p:spPr>
          <a:xfrm>
            <a:off x="0" y="0"/>
            <a:ext cx="12192000" cy="603754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73488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11433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EDA1C25F-7D43-4095-A0B8-45700D5B151C}"/>
              </a:ext>
            </a:extLst>
          </p:cNvPr>
          <p:cNvSpPr/>
          <p:nvPr userDrawn="1"/>
        </p:nvSpPr>
        <p:spPr>
          <a:xfrm>
            <a:off x="8499929" y="4854262"/>
            <a:ext cx="3250324" cy="1694430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6" y="2085874"/>
            <a:ext cx="3329183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4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800" dirty="0"/>
              <a:t>Normal text here and here and here and here</a:t>
            </a:r>
            <a:endParaRPr lang="en-GB" sz="24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DE8A4C4-F89C-4196-9B13-39D203050D5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8975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417810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7" y="2085874"/>
            <a:ext cx="2995808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 dirty="0"/>
              <a:t>Normal text here and here and here and here</a:t>
            </a:r>
            <a:endParaRPr lang="en-GB" sz="2000" dirty="0"/>
          </a:p>
          <a:p>
            <a:pPr marL="197049" marR="3008">
              <a:lnSpc>
                <a:spcPct val="100600"/>
              </a:lnSpc>
            </a:pPr>
            <a:endParaRPr lang="en-GB" sz="1600" dirty="0"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B7093058-1C72-42EE-AFD4-C6A337F2FC13}"/>
              </a:ext>
            </a:extLst>
          </p:cNvPr>
          <p:cNvSpPr/>
          <p:nvPr userDrawn="1"/>
        </p:nvSpPr>
        <p:spPr>
          <a:xfrm>
            <a:off x="8580474" y="3407791"/>
            <a:ext cx="3205788" cy="3090186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A53F04-AED7-452A-9F24-9297FB349A1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97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726504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6" y="2085874"/>
            <a:ext cx="2967233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 dirty="0"/>
              <a:t>Normal text here and here and here and here</a:t>
            </a:r>
            <a:endParaRPr lang="en-GB" sz="2000" dirty="0"/>
          </a:p>
          <a:p>
            <a:pPr marL="197049" marR="3008" indent="-189904">
              <a:lnSpc>
                <a:spcPct val="100600"/>
              </a:lnSpc>
              <a:spcBef>
                <a:spcPts val="56"/>
              </a:spcBef>
            </a:pPr>
            <a:endParaRPr lang="en-GB" sz="1600" b="1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558145CC-D3BC-4C88-AA7C-565A0C5BCABE}"/>
              </a:ext>
            </a:extLst>
          </p:cNvPr>
          <p:cNvSpPr/>
          <p:nvPr userDrawn="1"/>
        </p:nvSpPr>
        <p:spPr>
          <a:xfrm>
            <a:off x="8189297" y="4958505"/>
            <a:ext cx="3821367" cy="1519130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0BB016E-539B-4F7E-9E4A-780487E1CEF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9613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603894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ON TWO LINES IF NECESSARY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2261380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15">
            <a:extLst>
              <a:ext uri="{FF2B5EF4-FFF2-40B4-BE49-F238E27FC236}">
                <a16:creationId xmlns:a16="http://schemas.microsoft.com/office/drawing/2014/main" id="{7B4597E5-7462-D917-B3FC-691CFD46CE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7895" y="339079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077D36-9B62-FD3B-4F96-ED9C71D7A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07808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4712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031-043D-4150-8D51-38680CAB1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CUSTOM SLID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46516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89E258-1D79-4E25-B592-51F1147856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9941" y="356990"/>
            <a:ext cx="9145218" cy="661832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SLIDE TITLE GOES HERE</a:t>
            </a:r>
            <a:br>
              <a:rPr lang="en-US" dirty="0"/>
            </a:br>
            <a:r>
              <a:rPr lang="en-US" dirty="0"/>
              <a:t>ON TWO LINES IF NECESSARY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7644EA8-7028-42E5-833F-BAD05B8F4B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8328" y="1201381"/>
            <a:ext cx="11055343" cy="5299629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9" name="object 11">
            <a:extLst>
              <a:ext uri="{FF2B5EF4-FFF2-40B4-BE49-F238E27FC236}">
                <a16:creationId xmlns:a16="http://schemas.microsoft.com/office/drawing/2014/main" id="{235ED689-9638-443C-9A10-E043942A6629}"/>
              </a:ext>
            </a:extLst>
          </p:cNvPr>
          <p:cNvSpPr/>
          <p:nvPr userDrawn="1"/>
        </p:nvSpPr>
        <p:spPr>
          <a:xfrm>
            <a:off x="620851" y="6136760"/>
            <a:ext cx="166575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3468526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8F99CAC-C0C8-2644-91FF-26FA30833B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2602" y="1720557"/>
            <a:ext cx="5534399" cy="4256497"/>
          </a:xfrm>
          <a:prstGeom prst="rect">
            <a:avLst/>
          </a:prstGeom>
        </p:spPr>
        <p:txBody>
          <a:bodyPr/>
          <a:lstStyle>
            <a:lvl1pPr marL="7521" marR="3008" indent="0" algn="l">
              <a:lnSpc>
                <a:spcPct val="144400"/>
              </a:lnSpc>
              <a:spcBef>
                <a:spcPts val="56"/>
              </a:spcBef>
              <a:buFont typeface="Arial" panose="020B0604020202020204" pitchFamily="34" charset="0"/>
              <a:buNone/>
              <a:defRPr sz="172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541508" indent="-270754" algn="l">
              <a:spcBef>
                <a:spcPts val="0"/>
              </a:spcBef>
              <a:buFont typeface="Arial" panose="020B0604020202020204" pitchFamily="34" charset="0"/>
              <a:buChar char="•"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7521" marR="3008">
              <a:lnSpc>
                <a:spcPct val="144400"/>
              </a:lnSpc>
              <a:spcBef>
                <a:spcPts val="56"/>
              </a:spcBef>
            </a:pP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rem ipsum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lor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it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met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ectetuer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ipiscing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it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d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am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6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nummy</a:t>
            </a:r>
            <a:r>
              <a:rPr lang="en-GB" sz="1717" spc="6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ibh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uismod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ncidunt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t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oreet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dolore </a:t>
            </a:r>
            <a:r>
              <a:rPr lang="en-GB" sz="1717" spc="6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gna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iquam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-6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rat</a:t>
            </a:r>
            <a:r>
              <a:rPr lang="en-GB" sz="1717" spc="-6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lutpat</a:t>
            </a:r>
            <a:r>
              <a:rPr lang="en-GB" sz="1717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t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si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im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d  minim </a:t>
            </a:r>
            <a:r>
              <a:rPr lang="en-GB" sz="1717" spc="-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eniam</a:t>
            </a:r>
            <a:r>
              <a:rPr lang="en-GB" sz="1717" spc="-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uis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strud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-12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erci</a:t>
            </a:r>
            <a:r>
              <a:rPr lang="en-GB" sz="1717" spc="-12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tion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llamcorper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scipit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bortis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isl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t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iquip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-1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a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6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odo</a:t>
            </a:r>
            <a:r>
              <a:rPr lang="en-GB" sz="1717" spc="6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equat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en-GB" sz="1717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4A892B8-0B4A-6249-9EFA-E629D609104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03292" y="1720850"/>
            <a:ext cx="5357066" cy="4256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89E258-1D79-4E25-B592-51F1147856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9941" y="356990"/>
            <a:ext cx="9145218" cy="661832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SLIDE TITLE GOES HERE</a:t>
            </a:r>
            <a:br>
              <a:rPr lang="en-US" dirty="0"/>
            </a:br>
            <a:r>
              <a:rPr lang="en-US" dirty="0"/>
              <a:t>ON TWO LINES IF NECESSARY</a:t>
            </a:r>
          </a:p>
        </p:txBody>
      </p:sp>
    </p:spTree>
    <p:extLst>
      <p:ext uri="{BB962C8B-B14F-4D97-AF65-F5344CB8AC3E}">
        <p14:creationId xmlns:p14="http://schemas.microsoft.com/office/powerpoint/2010/main" val="247536932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8F99CAC-C0C8-2644-91FF-26FA30833B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2602" y="1720557"/>
            <a:ext cx="3638617" cy="4256497"/>
          </a:xfrm>
          <a:prstGeom prst="rect">
            <a:avLst/>
          </a:prstGeom>
        </p:spPr>
        <p:txBody>
          <a:bodyPr/>
          <a:lstStyle>
            <a:lvl1pPr marL="7521" marR="3008" indent="0" algn="l">
              <a:lnSpc>
                <a:spcPct val="144400"/>
              </a:lnSpc>
              <a:spcBef>
                <a:spcPts val="56"/>
              </a:spcBef>
              <a:buFont typeface="Arial" panose="020B0604020202020204" pitchFamily="34" charset="0"/>
              <a:buNone/>
              <a:defRPr sz="172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  <a:lvl2pPr marL="541508" indent="-270754" algn="l">
              <a:spcBef>
                <a:spcPts val="0"/>
              </a:spcBef>
              <a:buFont typeface="Arial" panose="020B0604020202020204" pitchFamily="34" charset="0"/>
              <a:buChar char="•"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7521" marR="3008">
              <a:lnSpc>
                <a:spcPct val="144400"/>
              </a:lnSpc>
              <a:spcBef>
                <a:spcPts val="56"/>
              </a:spcBef>
            </a:pP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rem ipsum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lor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it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met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ectetuer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ipiscing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it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d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am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6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nummy</a:t>
            </a:r>
            <a:r>
              <a:rPr lang="en-GB" sz="1717" spc="6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ibh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uismod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ncidunt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t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oreet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dolore </a:t>
            </a:r>
            <a:r>
              <a:rPr lang="en-GB" sz="1717" spc="6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gna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iquam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-6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rat</a:t>
            </a:r>
            <a:r>
              <a:rPr lang="en-GB" sz="1717" spc="-6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lutpat</a:t>
            </a:r>
            <a:r>
              <a:rPr lang="en-GB" sz="1717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t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si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im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d  minim </a:t>
            </a:r>
            <a:r>
              <a:rPr lang="en-GB" sz="1717" spc="-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eniam</a:t>
            </a:r>
            <a:r>
              <a:rPr lang="en-GB" sz="1717" spc="-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uis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strud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-12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erci</a:t>
            </a:r>
            <a:r>
              <a:rPr lang="en-GB" sz="1717" spc="-12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tion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llamcorper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scipit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bortis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isl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t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iquip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-1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a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6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odo</a:t>
            </a:r>
            <a:r>
              <a:rPr lang="en-GB" sz="1717" spc="6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equat</a:t>
            </a:r>
            <a:r>
              <a:rPr lang="en-GB" sz="1717" spc="3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en-GB" sz="1717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4A892B8-0B4A-6249-9EFA-E629D609104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42723" y="1720850"/>
            <a:ext cx="3517635" cy="42560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801D9373-91B2-634E-8628-CADF6ABD919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22465" y="1720850"/>
            <a:ext cx="3369011" cy="4256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2164D2E-888D-4DD8-8290-840EBC12D5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9941" y="356990"/>
            <a:ext cx="9145218" cy="661832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SLIDE TITLE GOES HERE</a:t>
            </a:r>
            <a:br>
              <a:rPr lang="en-US" dirty="0"/>
            </a:br>
            <a:r>
              <a:rPr lang="en-US" dirty="0"/>
              <a:t>ON TWO LINES IF NECESSARY</a:t>
            </a:r>
          </a:p>
        </p:txBody>
      </p:sp>
    </p:spTree>
    <p:extLst>
      <p:ext uri="{BB962C8B-B14F-4D97-AF65-F5344CB8AC3E}">
        <p14:creationId xmlns:p14="http://schemas.microsoft.com/office/powerpoint/2010/main" val="38821701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800A1350-7746-0E4A-91DF-E2AB607ADA59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32444" y="1806576"/>
            <a:ext cx="11039295" cy="4181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5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614A6C0-0093-4A32-90F2-B8823E3AAB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9941" y="356990"/>
            <a:ext cx="9145218" cy="661832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SLIDE TITLE GOES HERE</a:t>
            </a:r>
            <a:br>
              <a:rPr lang="en-US" dirty="0"/>
            </a:br>
            <a:r>
              <a:rPr lang="en-US" dirty="0"/>
              <a:t>ON TWO LINES IF NECESSARY</a:t>
            </a:r>
          </a:p>
        </p:txBody>
      </p:sp>
    </p:spTree>
    <p:extLst>
      <p:ext uri="{BB962C8B-B14F-4D97-AF65-F5344CB8AC3E}">
        <p14:creationId xmlns:p14="http://schemas.microsoft.com/office/powerpoint/2010/main" val="33326216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72E115C-2C26-014B-A82E-C6786F3DA9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DCE2317-9465-B44C-889D-A5E7352B42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5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519"/>
          </a:xfrm>
          <a:prstGeom prst="rect">
            <a:avLst/>
          </a:prstGeom>
        </p:spPr>
      </p:pic>
      <p:sp>
        <p:nvSpPr>
          <p:cNvPr id="31" name="object 4">
            <a:extLst>
              <a:ext uri="{FF2B5EF4-FFF2-40B4-BE49-F238E27FC236}">
                <a16:creationId xmlns:a16="http://schemas.microsoft.com/office/drawing/2014/main" id="{61CF7A6D-5685-6042-A629-3C5635BBC234}"/>
              </a:ext>
            </a:extLst>
          </p:cNvPr>
          <p:cNvSpPr/>
          <p:nvPr userDrawn="1"/>
        </p:nvSpPr>
        <p:spPr>
          <a:xfrm>
            <a:off x="635835" y="617514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E58E494-1C6C-6048-95A4-E67DC56D17E1}"/>
              </a:ext>
            </a:extLst>
          </p:cNvPr>
          <p:cNvGrpSpPr/>
          <p:nvPr userDrawn="1"/>
        </p:nvGrpSpPr>
        <p:grpSpPr>
          <a:xfrm>
            <a:off x="8986233" y="302269"/>
            <a:ext cx="2774642" cy="1163669"/>
            <a:chOff x="14817924" y="781197"/>
            <a:chExt cx="4575269" cy="1918977"/>
          </a:xfrm>
        </p:grpSpPr>
        <p:sp>
          <p:nvSpPr>
            <p:cNvPr id="6" name="object 6">
              <a:extLst>
                <a:ext uri="{FF2B5EF4-FFF2-40B4-BE49-F238E27FC236}">
                  <a16:creationId xmlns:a16="http://schemas.microsoft.com/office/drawing/2014/main" id="{988D07A3-0940-0A42-8A69-CD338296E901}"/>
                </a:ext>
              </a:extLst>
            </p:cNvPr>
            <p:cNvSpPr/>
            <p:nvPr/>
          </p:nvSpPr>
          <p:spPr>
            <a:xfrm>
              <a:off x="14817924" y="2494651"/>
              <a:ext cx="87452" cy="154822"/>
            </a:xfrm>
            <a:prstGeom prst="rect">
              <a:avLst/>
            </a:prstGeom>
            <a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30B6986F-75AA-4742-977C-6A4BC896B03F}"/>
                </a:ext>
              </a:extLst>
            </p:cNvPr>
            <p:cNvSpPr/>
            <p:nvPr/>
          </p:nvSpPr>
          <p:spPr>
            <a:xfrm>
              <a:off x="14931724" y="2542744"/>
              <a:ext cx="85630" cy="106719"/>
            </a:xfrm>
            <a:prstGeom prst="rect">
              <a:avLst/>
            </a:prstGeom>
            <a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8" name="object 8">
              <a:extLst>
                <a:ext uri="{FF2B5EF4-FFF2-40B4-BE49-F238E27FC236}">
                  <a16:creationId xmlns:a16="http://schemas.microsoft.com/office/drawing/2014/main" id="{831D4405-7C33-EE49-83D0-0DFBF1B03A36}"/>
                </a:ext>
              </a:extLst>
            </p:cNvPr>
            <p:cNvSpPr/>
            <p:nvPr/>
          </p:nvSpPr>
          <p:spPr>
            <a:xfrm>
              <a:off x="15096148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790" y="48082"/>
                  </a:lnTo>
                  <a:lnTo>
                    <a:pt x="3790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14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14" y="28417"/>
                  </a:lnTo>
                  <a:lnTo>
                    <a:pt x="28407" y="22104"/>
                  </a:lnTo>
                  <a:lnTo>
                    <a:pt x="28407" y="6272"/>
                  </a:lnTo>
                  <a:lnTo>
                    <a:pt x="2211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9" name="object 9">
              <a:extLst>
                <a:ext uri="{FF2B5EF4-FFF2-40B4-BE49-F238E27FC236}">
                  <a16:creationId xmlns:a16="http://schemas.microsoft.com/office/drawing/2014/main" id="{F10C3FDC-3B9C-F943-A57A-8203A4553305}"/>
                </a:ext>
              </a:extLst>
            </p:cNvPr>
            <p:cNvSpPr/>
            <p:nvPr/>
          </p:nvSpPr>
          <p:spPr>
            <a:xfrm>
              <a:off x="16034821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821" y="48082"/>
                  </a:lnTo>
                  <a:lnTo>
                    <a:pt x="3821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24" y="0"/>
                  </a:moveTo>
                  <a:lnTo>
                    <a:pt x="629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293" y="28417"/>
                  </a:lnTo>
                  <a:lnTo>
                    <a:pt x="22124" y="28417"/>
                  </a:lnTo>
                  <a:lnTo>
                    <a:pt x="28428" y="22104"/>
                  </a:lnTo>
                  <a:lnTo>
                    <a:pt x="28428" y="6272"/>
                  </a:lnTo>
                  <a:lnTo>
                    <a:pt x="221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0" name="object 10">
              <a:extLst>
                <a:ext uri="{FF2B5EF4-FFF2-40B4-BE49-F238E27FC236}">
                  <a16:creationId xmlns:a16="http://schemas.microsoft.com/office/drawing/2014/main" id="{6DC94C29-8843-4A4F-882E-11F5742BDC36}"/>
                </a:ext>
              </a:extLst>
            </p:cNvPr>
            <p:cNvSpPr/>
            <p:nvPr/>
          </p:nvSpPr>
          <p:spPr>
            <a:xfrm>
              <a:off x="16678738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292" y="48082"/>
                  </a:moveTo>
                  <a:lnTo>
                    <a:pt x="3790" y="48082"/>
                  </a:lnTo>
                  <a:lnTo>
                    <a:pt x="3790" y="149524"/>
                  </a:lnTo>
                  <a:lnTo>
                    <a:pt x="24292" y="149524"/>
                  </a:lnTo>
                  <a:lnTo>
                    <a:pt x="24292" y="48082"/>
                  </a:lnTo>
                  <a:close/>
                </a:path>
                <a:path w="28575" h="149860">
                  <a:moveTo>
                    <a:pt x="22104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04" y="28417"/>
                  </a:lnTo>
                  <a:lnTo>
                    <a:pt x="28397" y="22104"/>
                  </a:lnTo>
                  <a:lnTo>
                    <a:pt x="28397" y="6272"/>
                  </a:lnTo>
                  <a:lnTo>
                    <a:pt x="2210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7D8BD669-B8D4-7848-80E7-1C8D4904BAED}"/>
                </a:ext>
              </a:extLst>
            </p:cNvPr>
            <p:cNvSpPr/>
            <p:nvPr/>
          </p:nvSpPr>
          <p:spPr>
            <a:xfrm>
              <a:off x="15443530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800" y="48082"/>
                  </a:lnTo>
                  <a:lnTo>
                    <a:pt x="3800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35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35" y="28417"/>
                  </a:lnTo>
                  <a:lnTo>
                    <a:pt x="28417" y="22104"/>
                  </a:lnTo>
                  <a:lnTo>
                    <a:pt x="28417" y="6272"/>
                  </a:lnTo>
                  <a:lnTo>
                    <a:pt x="2213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989DAB23-E9EF-C14F-B9C4-929E36182A25}"/>
                </a:ext>
              </a:extLst>
            </p:cNvPr>
            <p:cNvSpPr/>
            <p:nvPr/>
          </p:nvSpPr>
          <p:spPr>
            <a:xfrm>
              <a:off x="15144446" y="2542744"/>
              <a:ext cx="192678" cy="106719"/>
            </a:xfrm>
            <a:prstGeom prst="rect">
              <a:avLst/>
            </a:prstGeom>
            <a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066B0F2C-E5DF-704B-A18A-F55897F9141C}"/>
                </a:ext>
              </a:extLst>
            </p:cNvPr>
            <p:cNvSpPr/>
            <p:nvPr/>
          </p:nvSpPr>
          <p:spPr>
            <a:xfrm>
              <a:off x="15363480" y="2542744"/>
              <a:ext cx="59690" cy="104139"/>
            </a:xfrm>
            <a:custGeom>
              <a:avLst/>
              <a:gdLst/>
              <a:ahLst/>
              <a:cxnLst/>
              <a:rect l="l" t="t" r="r" b="b"/>
              <a:pathLst>
                <a:path w="59690" h="104139">
                  <a:moveTo>
                    <a:pt x="13999" y="2628"/>
                  </a:moveTo>
                  <a:lnTo>
                    <a:pt x="0" y="2628"/>
                  </a:lnTo>
                  <a:lnTo>
                    <a:pt x="0" y="104080"/>
                  </a:lnTo>
                  <a:lnTo>
                    <a:pt x="20878" y="104080"/>
                  </a:lnTo>
                  <a:lnTo>
                    <a:pt x="20878" y="24135"/>
                  </a:lnTo>
                  <a:lnTo>
                    <a:pt x="26794" y="21496"/>
                  </a:lnTo>
                  <a:lnTo>
                    <a:pt x="33674" y="19255"/>
                  </a:lnTo>
                  <a:lnTo>
                    <a:pt x="59443" y="19255"/>
                  </a:lnTo>
                  <a:lnTo>
                    <a:pt x="59443" y="8303"/>
                  </a:lnTo>
                  <a:lnTo>
                    <a:pt x="16020" y="8303"/>
                  </a:lnTo>
                  <a:lnTo>
                    <a:pt x="13999" y="2628"/>
                  </a:lnTo>
                  <a:close/>
                </a:path>
                <a:path w="59690" h="104139">
                  <a:moveTo>
                    <a:pt x="59443" y="19255"/>
                  </a:moveTo>
                  <a:lnTo>
                    <a:pt x="48501" y="19255"/>
                  </a:lnTo>
                  <a:lnTo>
                    <a:pt x="54364" y="20481"/>
                  </a:lnTo>
                  <a:lnTo>
                    <a:pt x="59443" y="22302"/>
                  </a:lnTo>
                  <a:lnTo>
                    <a:pt x="59443" y="19255"/>
                  </a:lnTo>
                  <a:close/>
                </a:path>
                <a:path w="59690" h="104139">
                  <a:moveTo>
                    <a:pt x="48909" y="0"/>
                  </a:moveTo>
                  <a:lnTo>
                    <a:pt x="44427" y="0"/>
                  </a:lnTo>
                  <a:lnTo>
                    <a:pt x="37022" y="527"/>
                  </a:lnTo>
                  <a:lnTo>
                    <a:pt x="29764" y="2098"/>
                  </a:lnTo>
                  <a:lnTo>
                    <a:pt x="22737" y="4695"/>
                  </a:lnTo>
                  <a:lnTo>
                    <a:pt x="16020" y="8303"/>
                  </a:lnTo>
                  <a:lnTo>
                    <a:pt x="59443" y="8303"/>
                  </a:lnTo>
                  <a:lnTo>
                    <a:pt x="59443" y="1612"/>
                  </a:lnTo>
                  <a:lnTo>
                    <a:pt x="54993" y="607"/>
                  </a:lnTo>
                  <a:lnTo>
                    <a:pt x="489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F5949A49-32CF-984C-8B66-5F0F8599F7B8}"/>
                </a:ext>
              </a:extLst>
            </p:cNvPr>
            <p:cNvSpPr/>
            <p:nvPr/>
          </p:nvSpPr>
          <p:spPr>
            <a:xfrm>
              <a:off x="15501005" y="2542734"/>
              <a:ext cx="199600" cy="157440"/>
            </a:xfrm>
            <a:prstGeom prst="rect">
              <a:avLst/>
            </a:prstGeom>
            <a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5" name="object 15">
              <a:extLst>
                <a:ext uri="{FF2B5EF4-FFF2-40B4-BE49-F238E27FC236}">
                  <a16:creationId xmlns:a16="http://schemas.microsoft.com/office/drawing/2014/main" id="{ABFE3AD2-32C6-ED43-919B-CD3D7C50C9E1}"/>
                </a:ext>
              </a:extLst>
            </p:cNvPr>
            <p:cNvSpPr/>
            <p:nvPr/>
          </p:nvSpPr>
          <p:spPr>
            <a:xfrm>
              <a:off x="15844767" y="2542744"/>
              <a:ext cx="59690" cy="104139"/>
            </a:xfrm>
            <a:custGeom>
              <a:avLst/>
              <a:gdLst/>
              <a:ahLst/>
              <a:cxnLst/>
              <a:rect l="l" t="t" r="r" b="b"/>
              <a:pathLst>
                <a:path w="59690" h="104139">
                  <a:moveTo>
                    <a:pt x="14020" y="2628"/>
                  </a:moveTo>
                  <a:lnTo>
                    <a:pt x="0" y="2628"/>
                  </a:lnTo>
                  <a:lnTo>
                    <a:pt x="0" y="104080"/>
                  </a:lnTo>
                  <a:lnTo>
                    <a:pt x="20920" y="104080"/>
                  </a:lnTo>
                  <a:lnTo>
                    <a:pt x="20920" y="24135"/>
                  </a:lnTo>
                  <a:lnTo>
                    <a:pt x="26774" y="21496"/>
                  </a:lnTo>
                  <a:lnTo>
                    <a:pt x="33695" y="19255"/>
                  </a:lnTo>
                  <a:lnTo>
                    <a:pt x="59464" y="19255"/>
                  </a:lnTo>
                  <a:lnTo>
                    <a:pt x="59464" y="8303"/>
                  </a:lnTo>
                  <a:lnTo>
                    <a:pt x="16041" y="8303"/>
                  </a:lnTo>
                  <a:lnTo>
                    <a:pt x="14020" y="2628"/>
                  </a:lnTo>
                  <a:close/>
                </a:path>
                <a:path w="59690" h="104139">
                  <a:moveTo>
                    <a:pt x="59464" y="19255"/>
                  </a:moveTo>
                  <a:lnTo>
                    <a:pt x="48501" y="19255"/>
                  </a:lnTo>
                  <a:lnTo>
                    <a:pt x="54385" y="20481"/>
                  </a:lnTo>
                  <a:lnTo>
                    <a:pt x="59464" y="22302"/>
                  </a:lnTo>
                  <a:lnTo>
                    <a:pt x="59464" y="19255"/>
                  </a:lnTo>
                  <a:close/>
                </a:path>
                <a:path w="59690" h="104139">
                  <a:moveTo>
                    <a:pt x="48909" y="0"/>
                  </a:moveTo>
                  <a:lnTo>
                    <a:pt x="44427" y="0"/>
                  </a:lnTo>
                  <a:lnTo>
                    <a:pt x="37025" y="527"/>
                  </a:lnTo>
                  <a:lnTo>
                    <a:pt x="29775" y="2098"/>
                  </a:lnTo>
                  <a:lnTo>
                    <a:pt x="22754" y="4695"/>
                  </a:lnTo>
                  <a:lnTo>
                    <a:pt x="16041" y="8303"/>
                  </a:lnTo>
                  <a:lnTo>
                    <a:pt x="59464" y="8303"/>
                  </a:lnTo>
                  <a:lnTo>
                    <a:pt x="59464" y="1612"/>
                  </a:lnTo>
                  <a:lnTo>
                    <a:pt x="54993" y="607"/>
                  </a:lnTo>
                  <a:lnTo>
                    <a:pt x="489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6" name="object 16">
              <a:extLst>
                <a:ext uri="{FF2B5EF4-FFF2-40B4-BE49-F238E27FC236}">
                  <a16:creationId xmlns:a16="http://schemas.microsoft.com/office/drawing/2014/main" id="{6EA42F7F-35EB-034A-977D-6915BDF3B4CC}"/>
                </a:ext>
              </a:extLst>
            </p:cNvPr>
            <p:cNvSpPr/>
            <p:nvPr/>
          </p:nvSpPr>
          <p:spPr>
            <a:xfrm>
              <a:off x="15924490" y="2542744"/>
              <a:ext cx="85630" cy="106719"/>
            </a:xfrm>
            <a:prstGeom prst="rect">
              <a:avLst/>
            </a:prstGeom>
            <a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7" name="object 17">
              <a:extLst>
                <a:ext uri="{FF2B5EF4-FFF2-40B4-BE49-F238E27FC236}">
                  <a16:creationId xmlns:a16="http://schemas.microsoft.com/office/drawing/2014/main" id="{856F3CDD-B521-754D-9F17-33D01AF2FC5D}"/>
                </a:ext>
              </a:extLst>
            </p:cNvPr>
            <p:cNvSpPr/>
            <p:nvPr/>
          </p:nvSpPr>
          <p:spPr>
            <a:xfrm>
              <a:off x="16083729" y="2542734"/>
              <a:ext cx="98991" cy="157440"/>
            </a:xfrm>
            <a:prstGeom prst="rect">
              <a:avLst/>
            </a:prstGeom>
            <a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26B44690-08F5-394D-9C32-DFA8AEB8E95B}"/>
                </a:ext>
              </a:extLst>
            </p:cNvPr>
            <p:cNvSpPr/>
            <p:nvPr/>
          </p:nvSpPr>
          <p:spPr>
            <a:xfrm>
              <a:off x="16203392" y="2494664"/>
              <a:ext cx="81327" cy="152152"/>
            </a:xfrm>
            <a:prstGeom prst="rect">
              <a:avLst/>
            </a:prstGeom>
            <a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9" name="object 19">
              <a:extLst>
                <a:ext uri="{FF2B5EF4-FFF2-40B4-BE49-F238E27FC236}">
                  <a16:creationId xmlns:a16="http://schemas.microsoft.com/office/drawing/2014/main" id="{82F79D31-ADC0-544C-BE4D-9AF0D38D20F9}"/>
                </a:ext>
              </a:extLst>
            </p:cNvPr>
            <p:cNvSpPr/>
            <p:nvPr/>
          </p:nvSpPr>
          <p:spPr>
            <a:xfrm>
              <a:off x="16435528" y="2542744"/>
              <a:ext cx="162704" cy="106719"/>
            </a:xfrm>
            <a:prstGeom prst="rect">
              <a:avLst/>
            </a:prstGeom>
            <a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0" name="object 20">
              <a:extLst>
                <a:ext uri="{FF2B5EF4-FFF2-40B4-BE49-F238E27FC236}">
                  <a16:creationId xmlns:a16="http://schemas.microsoft.com/office/drawing/2014/main" id="{749719E9-7629-0D43-B014-D5EF4E13BC42}"/>
                </a:ext>
              </a:extLst>
            </p:cNvPr>
            <p:cNvSpPr/>
            <p:nvPr/>
          </p:nvSpPr>
          <p:spPr>
            <a:xfrm>
              <a:off x="16733088" y="2542749"/>
              <a:ext cx="81128" cy="106708"/>
            </a:xfrm>
            <a:prstGeom prst="rect">
              <a:avLst/>
            </a:prstGeom>
            <a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1" name="object 21">
              <a:extLst>
                <a:ext uri="{FF2B5EF4-FFF2-40B4-BE49-F238E27FC236}">
                  <a16:creationId xmlns:a16="http://schemas.microsoft.com/office/drawing/2014/main" id="{8D20C62F-8BDC-8949-9BEF-237EE7D4E653}"/>
                </a:ext>
              </a:extLst>
            </p:cNvPr>
            <p:cNvSpPr/>
            <p:nvPr/>
          </p:nvSpPr>
          <p:spPr>
            <a:xfrm>
              <a:off x="16842601" y="2494645"/>
              <a:ext cx="87442" cy="154801"/>
            </a:xfrm>
            <a:prstGeom prst="rect">
              <a:avLst/>
            </a:prstGeom>
            <a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2" name="object 22">
              <a:extLst>
                <a:ext uri="{FF2B5EF4-FFF2-40B4-BE49-F238E27FC236}">
                  <a16:creationId xmlns:a16="http://schemas.microsoft.com/office/drawing/2014/main" id="{27E8ACD7-1E2A-0C4F-93E3-0886E0B9D56E}"/>
                </a:ext>
              </a:extLst>
            </p:cNvPr>
            <p:cNvSpPr/>
            <p:nvPr/>
          </p:nvSpPr>
          <p:spPr>
            <a:xfrm>
              <a:off x="17003059" y="2545373"/>
              <a:ext cx="94353" cy="152162"/>
            </a:xfrm>
            <a:prstGeom prst="rect">
              <a:avLst/>
            </a:prstGeom>
            <a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3" name="object 23">
              <a:extLst>
                <a:ext uri="{FF2B5EF4-FFF2-40B4-BE49-F238E27FC236}">
                  <a16:creationId xmlns:a16="http://schemas.microsoft.com/office/drawing/2014/main" id="{0C46363A-0B6B-6D4B-8603-8D0B46C19AAC}"/>
                </a:ext>
              </a:extLst>
            </p:cNvPr>
            <p:cNvSpPr/>
            <p:nvPr/>
          </p:nvSpPr>
          <p:spPr>
            <a:xfrm>
              <a:off x="15056164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49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4" name="object 24">
              <a:extLst>
                <a:ext uri="{FF2B5EF4-FFF2-40B4-BE49-F238E27FC236}">
                  <a16:creationId xmlns:a16="http://schemas.microsoft.com/office/drawing/2014/main" id="{484959F2-EC34-1F4F-904E-E9EE95EC816F}"/>
                </a:ext>
              </a:extLst>
            </p:cNvPr>
            <p:cNvSpPr/>
            <p:nvPr/>
          </p:nvSpPr>
          <p:spPr>
            <a:xfrm>
              <a:off x="16637037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5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63E8624E-5A3B-0D45-BAD7-9DA598F7C26D}"/>
                </a:ext>
              </a:extLst>
            </p:cNvPr>
            <p:cNvSpPr/>
            <p:nvPr/>
          </p:nvSpPr>
          <p:spPr>
            <a:xfrm>
              <a:off x="16968897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50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6" name="object 26">
              <a:extLst>
                <a:ext uri="{FF2B5EF4-FFF2-40B4-BE49-F238E27FC236}">
                  <a16:creationId xmlns:a16="http://schemas.microsoft.com/office/drawing/2014/main" id="{F585B409-CD62-9246-9092-11DDAC75585B}"/>
                </a:ext>
              </a:extLst>
            </p:cNvPr>
            <p:cNvSpPr/>
            <p:nvPr/>
          </p:nvSpPr>
          <p:spPr>
            <a:xfrm>
              <a:off x="16312543" y="2512005"/>
              <a:ext cx="51435" cy="137795"/>
            </a:xfrm>
            <a:custGeom>
              <a:avLst/>
              <a:gdLst/>
              <a:ahLst/>
              <a:cxnLst/>
              <a:rect l="l" t="t" r="r" b="b"/>
              <a:pathLst>
                <a:path w="51434" h="137794">
                  <a:moveTo>
                    <a:pt x="20805" y="0"/>
                  </a:moveTo>
                  <a:lnTo>
                    <a:pt x="0" y="5758"/>
                  </a:lnTo>
                  <a:lnTo>
                    <a:pt x="0" y="108593"/>
                  </a:lnTo>
                  <a:lnTo>
                    <a:pt x="2937" y="121631"/>
                  </a:lnTo>
                  <a:lnTo>
                    <a:pt x="10667" y="130611"/>
                  </a:lnTo>
                  <a:lnTo>
                    <a:pt x="21565" y="135801"/>
                  </a:lnTo>
                  <a:lnTo>
                    <a:pt x="34009" y="137472"/>
                  </a:lnTo>
                  <a:lnTo>
                    <a:pt x="41852" y="137472"/>
                  </a:lnTo>
                  <a:lnTo>
                    <a:pt x="46982" y="136205"/>
                  </a:lnTo>
                  <a:lnTo>
                    <a:pt x="46982" y="117849"/>
                  </a:lnTo>
                  <a:lnTo>
                    <a:pt x="26585" y="117849"/>
                  </a:lnTo>
                  <a:lnTo>
                    <a:pt x="20805" y="115399"/>
                  </a:lnTo>
                  <a:lnTo>
                    <a:pt x="20805" y="49851"/>
                  </a:lnTo>
                  <a:lnTo>
                    <a:pt x="51317" y="49851"/>
                  </a:lnTo>
                  <a:lnTo>
                    <a:pt x="51317" y="31726"/>
                  </a:lnTo>
                  <a:lnTo>
                    <a:pt x="20805" y="31726"/>
                  </a:lnTo>
                  <a:lnTo>
                    <a:pt x="20805" y="0"/>
                  </a:lnTo>
                  <a:close/>
                </a:path>
                <a:path w="51434" h="137794">
                  <a:moveTo>
                    <a:pt x="46982" y="117054"/>
                  </a:moveTo>
                  <a:lnTo>
                    <a:pt x="44731" y="117462"/>
                  </a:lnTo>
                  <a:lnTo>
                    <a:pt x="39559" y="117849"/>
                  </a:lnTo>
                  <a:lnTo>
                    <a:pt x="46982" y="117849"/>
                  </a:lnTo>
                  <a:lnTo>
                    <a:pt x="46982" y="11705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7" name="object 27">
              <a:extLst>
                <a:ext uri="{FF2B5EF4-FFF2-40B4-BE49-F238E27FC236}">
                  <a16:creationId xmlns:a16="http://schemas.microsoft.com/office/drawing/2014/main" id="{3FAD4E42-952E-D149-99A0-372A21AD6CE7}"/>
                </a:ext>
              </a:extLst>
            </p:cNvPr>
            <p:cNvSpPr/>
            <p:nvPr/>
          </p:nvSpPr>
          <p:spPr>
            <a:xfrm>
              <a:off x="15771907" y="2491999"/>
              <a:ext cx="51435" cy="154940"/>
            </a:xfrm>
            <a:custGeom>
              <a:avLst/>
              <a:gdLst/>
              <a:ahLst/>
              <a:cxnLst/>
              <a:rect l="l" t="t" r="r" b="b"/>
              <a:pathLst>
                <a:path w="51434" h="154939">
                  <a:moveTo>
                    <a:pt x="41831" y="0"/>
                  </a:moveTo>
                  <a:lnTo>
                    <a:pt x="34030" y="0"/>
                  </a:lnTo>
                  <a:lnTo>
                    <a:pt x="21574" y="1670"/>
                  </a:lnTo>
                  <a:lnTo>
                    <a:pt x="10669" y="6861"/>
                  </a:lnTo>
                  <a:lnTo>
                    <a:pt x="2937" y="15840"/>
                  </a:lnTo>
                  <a:lnTo>
                    <a:pt x="0" y="28878"/>
                  </a:lnTo>
                  <a:lnTo>
                    <a:pt x="0" y="154812"/>
                  </a:lnTo>
                  <a:lnTo>
                    <a:pt x="20805" y="154812"/>
                  </a:lnTo>
                  <a:lnTo>
                    <a:pt x="20805" y="71505"/>
                  </a:lnTo>
                  <a:lnTo>
                    <a:pt x="51338" y="71505"/>
                  </a:lnTo>
                  <a:lnTo>
                    <a:pt x="51338" y="53380"/>
                  </a:lnTo>
                  <a:lnTo>
                    <a:pt x="20805" y="53380"/>
                  </a:lnTo>
                  <a:lnTo>
                    <a:pt x="20805" y="22072"/>
                  </a:lnTo>
                  <a:lnTo>
                    <a:pt x="26564" y="19601"/>
                  </a:lnTo>
                  <a:lnTo>
                    <a:pt x="46982" y="19601"/>
                  </a:lnTo>
                  <a:lnTo>
                    <a:pt x="46982" y="1246"/>
                  </a:lnTo>
                  <a:lnTo>
                    <a:pt x="41831" y="0"/>
                  </a:lnTo>
                  <a:close/>
                </a:path>
                <a:path w="51434" h="154939">
                  <a:moveTo>
                    <a:pt x="46982" y="19601"/>
                  </a:moveTo>
                  <a:lnTo>
                    <a:pt x="39569" y="19601"/>
                  </a:lnTo>
                  <a:lnTo>
                    <a:pt x="44721" y="20009"/>
                  </a:lnTo>
                  <a:lnTo>
                    <a:pt x="46982" y="20418"/>
                  </a:lnTo>
                  <a:lnTo>
                    <a:pt x="46982" y="196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1AEE6AD3-D5D8-4240-A700-2B0E39D9FFC8}"/>
                </a:ext>
              </a:extLst>
            </p:cNvPr>
            <p:cNvSpPr/>
            <p:nvPr/>
          </p:nvSpPr>
          <p:spPr>
            <a:xfrm>
              <a:off x="17093362" y="1336135"/>
              <a:ext cx="612140" cy="353695"/>
            </a:xfrm>
            <a:custGeom>
              <a:avLst/>
              <a:gdLst/>
              <a:ahLst/>
              <a:cxnLst/>
              <a:rect l="l" t="t" r="r" b="b"/>
              <a:pathLst>
                <a:path w="612140" h="353694">
                  <a:moveTo>
                    <a:pt x="611656" y="0"/>
                  </a:moveTo>
                  <a:lnTo>
                    <a:pt x="0" y="20"/>
                  </a:lnTo>
                  <a:lnTo>
                    <a:pt x="203910" y="353162"/>
                  </a:lnTo>
                  <a:lnTo>
                    <a:pt x="407767" y="353162"/>
                  </a:lnTo>
                  <a:lnTo>
                    <a:pt x="611656" y="0"/>
                  </a:lnTo>
                  <a:close/>
                </a:path>
              </a:pathLst>
            </a:custGeom>
            <a:solidFill>
              <a:srgbClr val="85BD3E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9" name="object 29">
              <a:extLst>
                <a:ext uri="{FF2B5EF4-FFF2-40B4-BE49-F238E27FC236}">
                  <a16:creationId xmlns:a16="http://schemas.microsoft.com/office/drawing/2014/main" id="{F0AF6F60-B5C8-034E-9CB0-F5F2FEE248E5}"/>
                </a:ext>
              </a:extLst>
            </p:cNvPr>
            <p:cNvSpPr/>
            <p:nvPr/>
          </p:nvSpPr>
          <p:spPr>
            <a:xfrm>
              <a:off x="17471866" y="1336132"/>
              <a:ext cx="1165860" cy="1009650"/>
            </a:xfrm>
            <a:custGeom>
              <a:avLst/>
              <a:gdLst/>
              <a:ahLst/>
              <a:cxnLst/>
              <a:rect l="l" t="t" r="r" b="b"/>
              <a:pathLst>
                <a:path w="1165859" h="1009650">
                  <a:moveTo>
                    <a:pt x="961363" y="0"/>
                  </a:moveTo>
                  <a:lnTo>
                    <a:pt x="378805" y="41"/>
                  </a:lnTo>
                  <a:lnTo>
                    <a:pt x="0" y="655665"/>
                  </a:lnTo>
                  <a:lnTo>
                    <a:pt x="204046" y="1009026"/>
                  </a:lnTo>
                  <a:lnTo>
                    <a:pt x="582683" y="353162"/>
                  </a:lnTo>
                  <a:lnTo>
                    <a:pt x="1165388" y="353162"/>
                  </a:lnTo>
                  <a:lnTo>
                    <a:pt x="961363" y="0"/>
                  </a:lnTo>
                  <a:close/>
                </a:path>
              </a:pathLst>
            </a:custGeom>
            <a:solidFill>
              <a:srgbClr val="E63023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125205B5-8411-4A45-A066-6B1F267005F4}"/>
                </a:ext>
              </a:extLst>
            </p:cNvPr>
            <p:cNvSpPr/>
            <p:nvPr/>
          </p:nvSpPr>
          <p:spPr>
            <a:xfrm>
              <a:off x="17602493" y="781197"/>
              <a:ext cx="1790700" cy="201930"/>
            </a:xfrm>
            <a:custGeom>
              <a:avLst/>
              <a:gdLst/>
              <a:ahLst/>
              <a:cxnLst/>
              <a:rect l="l" t="t" r="r" b="b"/>
              <a:pathLst>
                <a:path w="1790700" h="201930">
                  <a:moveTo>
                    <a:pt x="328136" y="0"/>
                  </a:moveTo>
                  <a:lnTo>
                    <a:pt x="208370" y="0"/>
                  </a:lnTo>
                  <a:lnTo>
                    <a:pt x="208370" y="201784"/>
                  </a:lnTo>
                  <a:lnTo>
                    <a:pt x="258829" y="201784"/>
                  </a:lnTo>
                  <a:lnTo>
                    <a:pt x="258829" y="122991"/>
                  </a:lnTo>
                  <a:lnTo>
                    <a:pt x="364700" y="122991"/>
                  </a:lnTo>
                  <a:lnTo>
                    <a:pt x="359287" y="113609"/>
                  </a:lnTo>
                  <a:lnTo>
                    <a:pt x="369823" y="104711"/>
                  </a:lnTo>
                  <a:lnTo>
                    <a:pt x="377924" y="93525"/>
                  </a:lnTo>
                  <a:lnTo>
                    <a:pt x="383125" y="80510"/>
                  </a:lnTo>
                  <a:lnTo>
                    <a:pt x="383340" y="78824"/>
                  </a:lnTo>
                  <a:lnTo>
                    <a:pt x="258829" y="78824"/>
                  </a:lnTo>
                  <a:lnTo>
                    <a:pt x="258829" y="44145"/>
                  </a:lnTo>
                  <a:lnTo>
                    <a:pt x="382315" y="44145"/>
                  </a:lnTo>
                  <a:lnTo>
                    <a:pt x="380421" y="34716"/>
                  </a:lnTo>
                  <a:lnTo>
                    <a:pt x="368281" y="16647"/>
                  </a:lnTo>
                  <a:lnTo>
                    <a:pt x="350253" y="4466"/>
                  </a:lnTo>
                  <a:lnTo>
                    <a:pt x="328136" y="0"/>
                  </a:lnTo>
                  <a:close/>
                </a:path>
                <a:path w="1790700" h="201930">
                  <a:moveTo>
                    <a:pt x="364700" y="122991"/>
                  </a:moveTo>
                  <a:lnTo>
                    <a:pt x="313498" y="122991"/>
                  </a:lnTo>
                  <a:lnTo>
                    <a:pt x="358994" y="201784"/>
                  </a:lnTo>
                  <a:lnTo>
                    <a:pt x="410165" y="201784"/>
                  </a:lnTo>
                  <a:lnTo>
                    <a:pt x="364700" y="122991"/>
                  </a:lnTo>
                  <a:close/>
                </a:path>
                <a:path w="1790700" h="201930">
                  <a:moveTo>
                    <a:pt x="566139" y="0"/>
                  </a:moveTo>
                  <a:lnTo>
                    <a:pt x="512445" y="0"/>
                  </a:lnTo>
                  <a:lnTo>
                    <a:pt x="410165" y="201784"/>
                  </a:lnTo>
                  <a:lnTo>
                    <a:pt x="463849" y="201784"/>
                  </a:lnTo>
                  <a:lnTo>
                    <a:pt x="489398" y="151346"/>
                  </a:lnTo>
                  <a:lnTo>
                    <a:pt x="642861" y="151346"/>
                  </a:lnTo>
                  <a:lnTo>
                    <a:pt x="620472" y="107179"/>
                  </a:lnTo>
                  <a:lnTo>
                    <a:pt x="511785" y="107179"/>
                  </a:lnTo>
                  <a:lnTo>
                    <a:pt x="539282" y="52898"/>
                  </a:lnTo>
                  <a:lnTo>
                    <a:pt x="592955" y="52898"/>
                  </a:lnTo>
                  <a:lnTo>
                    <a:pt x="566139" y="0"/>
                  </a:lnTo>
                  <a:close/>
                </a:path>
                <a:path w="1790700" h="201930">
                  <a:moveTo>
                    <a:pt x="642861" y="151346"/>
                  </a:moveTo>
                  <a:lnTo>
                    <a:pt x="589186" y="151346"/>
                  </a:lnTo>
                  <a:lnTo>
                    <a:pt x="614756" y="201784"/>
                  </a:lnTo>
                  <a:lnTo>
                    <a:pt x="668429" y="201784"/>
                  </a:lnTo>
                  <a:lnTo>
                    <a:pt x="642861" y="151346"/>
                  </a:lnTo>
                  <a:close/>
                </a:path>
                <a:path w="1790700" h="201930">
                  <a:moveTo>
                    <a:pt x="592955" y="52898"/>
                  </a:moveTo>
                  <a:lnTo>
                    <a:pt x="539282" y="52898"/>
                  </a:lnTo>
                  <a:lnTo>
                    <a:pt x="566799" y="107179"/>
                  </a:lnTo>
                  <a:lnTo>
                    <a:pt x="620472" y="107179"/>
                  </a:lnTo>
                  <a:lnTo>
                    <a:pt x="592955" y="52898"/>
                  </a:lnTo>
                  <a:close/>
                </a:path>
                <a:path w="1790700" h="201930">
                  <a:moveTo>
                    <a:pt x="382315" y="44145"/>
                  </a:moveTo>
                  <a:lnTo>
                    <a:pt x="328817" y="44145"/>
                  </a:lnTo>
                  <a:lnTo>
                    <a:pt x="334492" y="49851"/>
                  </a:lnTo>
                  <a:lnTo>
                    <a:pt x="334618" y="73149"/>
                  </a:lnTo>
                  <a:lnTo>
                    <a:pt x="328911" y="78824"/>
                  </a:lnTo>
                  <a:lnTo>
                    <a:pt x="383340" y="78824"/>
                  </a:lnTo>
                  <a:lnTo>
                    <a:pt x="384962" y="66123"/>
                  </a:lnTo>
                  <a:lnTo>
                    <a:pt x="384867" y="56846"/>
                  </a:lnTo>
                  <a:lnTo>
                    <a:pt x="382315" y="44145"/>
                  </a:lnTo>
                  <a:close/>
                </a:path>
                <a:path w="1790700" h="201930">
                  <a:moveTo>
                    <a:pt x="1582820" y="0"/>
                  </a:moveTo>
                  <a:lnTo>
                    <a:pt x="1418888" y="0"/>
                  </a:lnTo>
                  <a:lnTo>
                    <a:pt x="1418888" y="201784"/>
                  </a:lnTo>
                  <a:lnTo>
                    <a:pt x="1582820" y="201784"/>
                  </a:lnTo>
                  <a:lnTo>
                    <a:pt x="1582820" y="157618"/>
                  </a:lnTo>
                  <a:lnTo>
                    <a:pt x="1469295" y="157618"/>
                  </a:lnTo>
                  <a:lnTo>
                    <a:pt x="1469295" y="122970"/>
                  </a:lnTo>
                  <a:lnTo>
                    <a:pt x="1576548" y="122970"/>
                  </a:lnTo>
                  <a:lnTo>
                    <a:pt x="1576548" y="78803"/>
                  </a:lnTo>
                  <a:lnTo>
                    <a:pt x="1469295" y="78803"/>
                  </a:lnTo>
                  <a:lnTo>
                    <a:pt x="1469295" y="44134"/>
                  </a:lnTo>
                  <a:lnTo>
                    <a:pt x="1582820" y="44134"/>
                  </a:lnTo>
                  <a:lnTo>
                    <a:pt x="1582820" y="0"/>
                  </a:lnTo>
                  <a:close/>
                </a:path>
                <a:path w="1790700" h="201930">
                  <a:moveTo>
                    <a:pt x="955436" y="150529"/>
                  </a:moveTo>
                  <a:lnTo>
                    <a:pt x="933301" y="188800"/>
                  </a:lnTo>
                  <a:lnTo>
                    <a:pt x="946596" y="194124"/>
                  </a:lnTo>
                  <a:lnTo>
                    <a:pt x="960510" y="198071"/>
                  </a:lnTo>
                  <a:lnTo>
                    <a:pt x="974981" y="200531"/>
                  </a:lnTo>
                  <a:lnTo>
                    <a:pt x="989948" y="201397"/>
                  </a:lnTo>
                  <a:lnTo>
                    <a:pt x="1065496" y="201376"/>
                  </a:lnTo>
                  <a:lnTo>
                    <a:pt x="1087569" y="196917"/>
                  </a:lnTo>
                  <a:lnTo>
                    <a:pt x="1105565" y="184757"/>
                  </a:lnTo>
                  <a:lnTo>
                    <a:pt x="1117683" y="166721"/>
                  </a:lnTo>
                  <a:lnTo>
                    <a:pt x="1119570" y="157335"/>
                  </a:lnTo>
                  <a:lnTo>
                    <a:pt x="989948" y="157335"/>
                  </a:lnTo>
                  <a:lnTo>
                    <a:pt x="980897" y="156875"/>
                  </a:lnTo>
                  <a:lnTo>
                    <a:pt x="972092" y="155558"/>
                  </a:lnTo>
                  <a:lnTo>
                    <a:pt x="963587" y="153427"/>
                  </a:lnTo>
                  <a:lnTo>
                    <a:pt x="955436" y="150529"/>
                  </a:lnTo>
                  <a:close/>
                </a:path>
                <a:path w="1790700" h="201930">
                  <a:moveTo>
                    <a:pt x="1065464" y="0"/>
                  </a:moveTo>
                  <a:lnTo>
                    <a:pt x="989948" y="0"/>
                  </a:lnTo>
                  <a:lnTo>
                    <a:pt x="967867" y="4455"/>
                  </a:lnTo>
                  <a:lnTo>
                    <a:pt x="949865" y="16610"/>
                  </a:lnTo>
                  <a:lnTo>
                    <a:pt x="937742" y="34645"/>
                  </a:lnTo>
                  <a:lnTo>
                    <a:pt x="933301" y="56741"/>
                  </a:lnTo>
                  <a:lnTo>
                    <a:pt x="933301" y="65966"/>
                  </a:lnTo>
                  <a:lnTo>
                    <a:pt x="937742" y="88065"/>
                  </a:lnTo>
                  <a:lnTo>
                    <a:pt x="949865" y="106108"/>
                  </a:lnTo>
                  <a:lnTo>
                    <a:pt x="967867" y="118270"/>
                  </a:lnTo>
                  <a:lnTo>
                    <a:pt x="989948" y="122729"/>
                  </a:lnTo>
                  <a:lnTo>
                    <a:pt x="1066176" y="122729"/>
                  </a:lnTo>
                  <a:lnTo>
                    <a:pt x="1071852" y="128393"/>
                  </a:lnTo>
                  <a:lnTo>
                    <a:pt x="1071852" y="151628"/>
                  </a:lnTo>
                  <a:lnTo>
                    <a:pt x="1066176" y="157314"/>
                  </a:lnTo>
                  <a:lnTo>
                    <a:pt x="989948" y="157335"/>
                  </a:lnTo>
                  <a:lnTo>
                    <a:pt x="1119570" y="157335"/>
                  </a:lnTo>
                  <a:lnTo>
                    <a:pt x="1122122" y="144634"/>
                  </a:lnTo>
                  <a:lnTo>
                    <a:pt x="1122122" y="135388"/>
                  </a:lnTo>
                  <a:lnTo>
                    <a:pt x="1117683" y="113313"/>
                  </a:lnTo>
                  <a:lnTo>
                    <a:pt x="1105565" y="95283"/>
                  </a:lnTo>
                  <a:lnTo>
                    <a:pt x="1087569" y="83126"/>
                  </a:lnTo>
                  <a:lnTo>
                    <a:pt x="1065496" y="78667"/>
                  </a:lnTo>
                  <a:lnTo>
                    <a:pt x="989247" y="78667"/>
                  </a:lnTo>
                  <a:lnTo>
                    <a:pt x="983551" y="72992"/>
                  </a:lnTo>
                  <a:lnTo>
                    <a:pt x="983551" y="49736"/>
                  </a:lnTo>
                  <a:lnTo>
                    <a:pt x="989247" y="44061"/>
                  </a:lnTo>
                  <a:lnTo>
                    <a:pt x="1096919" y="44061"/>
                  </a:lnTo>
                  <a:lnTo>
                    <a:pt x="1096919" y="3120"/>
                  </a:lnTo>
                  <a:lnTo>
                    <a:pt x="1089567" y="1744"/>
                  </a:lnTo>
                  <a:lnTo>
                    <a:pt x="1081738" y="770"/>
                  </a:lnTo>
                  <a:lnTo>
                    <a:pt x="1073635" y="191"/>
                  </a:lnTo>
                  <a:lnTo>
                    <a:pt x="1065464" y="0"/>
                  </a:lnTo>
                  <a:close/>
                </a:path>
                <a:path w="1790700" h="201930">
                  <a:moveTo>
                    <a:pt x="1096919" y="44061"/>
                  </a:moveTo>
                  <a:lnTo>
                    <a:pt x="1065464" y="44061"/>
                  </a:lnTo>
                  <a:lnTo>
                    <a:pt x="1072436" y="44315"/>
                  </a:lnTo>
                  <a:lnTo>
                    <a:pt x="1081957" y="44998"/>
                  </a:lnTo>
                  <a:lnTo>
                    <a:pt x="1091096" y="45996"/>
                  </a:lnTo>
                  <a:lnTo>
                    <a:pt x="1096919" y="47192"/>
                  </a:lnTo>
                  <a:lnTo>
                    <a:pt x="1096919" y="44061"/>
                  </a:lnTo>
                  <a:close/>
                </a:path>
                <a:path w="1790700" h="201930">
                  <a:moveTo>
                    <a:pt x="1639614" y="0"/>
                  </a:moveTo>
                  <a:lnTo>
                    <a:pt x="1639614" y="201784"/>
                  </a:lnTo>
                  <a:lnTo>
                    <a:pt x="1690074" y="201784"/>
                  </a:lnTo>
                  <a:lnTo>
                    <a:pt x="1690074" y="44145"/>
                  </a:lnTo>
                  <a:lnTo>
                    <a:pt x="1765150" y="44145"/>
                  </a:lnTo>
                  <a:lnTo>
                    <a:pt x="1790667" y="31"/>
                  </a:lnTo>
                  <a:lnTo>
                    <a:pt x="1639614" y="0"/>
                  </a:lnTo>
                  <a:close/>
                </a:path>
                <a:path w="1790700" h="201930">
                  <a:moveTo>
                    <a:pt x="1217093" y="0"/>
                  </a:moveTo>
                  <a:lnTo>
                    <a:pt x="1160341" y="0"/>
                  </a:lnTo>
                  <a:lnTo>
                    <a:pt x="1160341" y="201784"/>
                  </a:lnTo>
                  <a:lnTo>
                    <a:pt x="1210758" y="201784"/>
                  </a:lnTo>
                  <a:lnTo>
                    <a:pt x="1210758" y="69589"/>
                  </a:lnTo>
                  <a:lnTo>
                    <a:pt x="1266900" y="69589"/>
                  </a:lnTo>
                  <a:lnTo>
                    <a:pt x="1217093" y="0"/>
                  </a:lnTo>
                  <a:close/>
                </a:path>
                <a:path w="1790700" h="201930">
                  <a:moveTo>
                    <a:pt x="1266900" y="69589"/>
                  </a:moveTo>
                  <a:lnTo>
                    <a:pt x="1210758" y="69589"/>
                  </a:lnTo>
                  <a:lnTo>
                    <a:pt x="1305363" y="201784"/>
                  </a:lnTo>
                  <a:lnTo>
                    <a:pt x="1362136" y="201784"/>
                  </a:lnTo>
                  <a:lnTo>
                    <a:pt x="1362136" y="132194"/>
                  </a:lnTo>
                  <a:lnTo>
                    <a:pt x="1311708" y="132194"/>
                  </a:lnTo>
                  <a:lnTo>
                    <a:pt x="1266900" y="69589"/>
                  </a:lnTo>
                  <a:close/>
                </a:path>
                <a:path w="1790700" h="201930">
                  <a:moveTo>
                    <a:pt x="1362136" y="188"/>
                  </a:moveTo>
                  <a:lnTo>
                    <a:pt x="1311708" y="188"/>
                  </a:lnTo>
                  <a:lnTo>
                    <a:pt x="1311708" y="132194"/>
                  </a:lnTo>
                  <a:lnTo>
                    <a:pt x="1362136" y="132194"/>
                  </a:lnTo>
                  <a:lnTo>
                    <a:pt x="1362136" y="188"/>
                  </a:lnTo>
                  <a:close/>
                </a:path>
                <a:path w="1790700" h="201930">
                  <a:moveTo>
                    <a:pt x="151607" y="44145"/>
                  </a:moveTo>
                  <a:lnTo>
                    <a:pt x="101138" y="44145"/>
                  </a:lnTo>
                  <a:lnTo>
                    <a:pt x="101138" y="201784"/>
                  </a:lnTo>
                  <a:lnTo>
                    <a:pt x="151607" y="201784"/>
                  </a:lnTo>
                  <a:lnTo>
                    <a:pt x="151607" y="44145"/>
                  </a:lnTo>
                  <a:close/>
                </a:path>
                <a:path w="1790700" h="201930">
                  <a:moveTo>
                    <a:pt x="151607" y="0"/>
                  </a:moveTo>
                  <a:lnTo>
                    <a:pt x="0" y="31"/>
                  </a:lnTo>
                  <a:lnTo>
                    <a:pt x="25496" y="44166"/>
                  </a:lnTo>
                  <a:lnTo>
                    <a:pt x="151607" y="44145"/>
                  </a:lnTo>
                  <a:lnTo>
                    <a:pt x="151607" y="0"/>
                  </a:lnTo>
                  <a:close/>
                </a:path>
                <a:path w="1790700" h="201930">
                  <a:moveTo>
                    <a:pt x="744092" y="0"/>
                  </a:moveTo>
                  <a:lnTo>
                    <a:pt x="687350" y="0"/>
                  </a:lnTo>
                  <a:lnTo>
                    <a:pt x="687350" y="201784"/>
                  </a:lnTo>
                  <a:lnTo>
                    <a:pt x="737768" y="201784"/>
                  </a:lnTo>
                  <a:lnTo>
                    <a:pt x="737768" y="69589"/>
                  </a:lnTo>
                  <a:lnTo>
                    <a:pt x="793893" y="69589"/>
                  </a:lnTo>
                  <a:lnTo>
                    <a:pt x="744092" y="0"/>
                  </a:lnTo>
                  <a:close/>
                </a:path>
                <a:path w="1790700" h="201930">
                  <a:moveTo>
                    <a:pt x="793893" y="69589"/>
                  </a:moveTo>
                  <a:lnTo>
                    <a:pt x="737768" y="69589"/>
                  </a:lnTo>
                  <a:lnTo>
                    <a:pt x="832372" y="201784"/>
                  </a:lnTo>
                  <a:lnTo>
                    <a:pt x="889145" y="201784"/>
                  </a:lnTo>
                  <a:lnTo>
                    <a:pt x="889145" y="132194"/>
                  </a:lnTo>
                  <a:lnTo>
                    <a:pt x="838696" y="132194"/>
                  </a:lnTo>
                  <a:lnTo>
                    <a:pt x="793893" y="69589"/>
                  </a:lnTo>
                  <a:close/>
                </a:path>
                <a:path w="1790700" h="201930">
                  <a:moveTo>
                    <a:pt x="889145" y="188"/>
                  </a:moveTo>
                  <a:lnTo>
                    <a:pt x="838696" y="188"/>
                  </a:lnTo>
                  <a:lnTo>
                    <a:pt x="838696" y="132194"/>
                  </a:lnTo>
                  <a:lnTo>
                    <a:pt x="889145" y="132194"/>
                  </a:lnTo>
                  <a:lnTo>
                    <a:pt x="889145" y="188"/>
                  </a:lnTo>
                  <a:close/>
                </a:path>
              </a:pathLst>
            </a:custGeom>
            <a:solidFill>
              <a:srgbClr val="E63023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</p:spTree>
    <p:extLst>
      <p:ext uri="{BB962C8B-B14F-4D97-AF65-F5344CB8AC3E}">
        <p14:creationId xmlns:p14="http://schemas.microsoft.com/office/powerpoint/2010/main" val="397617322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BEC5ABC-23EE-084A-85FF-B2E1A9D42E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82" y="0"/>
            <a:ext cx="12186639" cy="6857760"/>
          </a:xfrm>
          <a:prstGeom prst="rect">
            <a:avLst/>
          </a:prstGeom>
        </p:spPr>
      </p:pic>
      <p:sp>
        <p:nvSpPr>
          <p:cNvPr id="9" name="object 11">
            <a:extLst>
              <a:ext uri="{FF2B5EF4-FFF2-40B4-BE49-F238E27FC236}">
                <a16:creationId xmlns:a16="http://schemas.microsoft.com/office/drawing/2014/main" id="{B1AAE19E-3061-7C40-AEC4-9EE6CCAF43D1}"/>
              </a:ext>
            </a:extLst>
          </p:cNvPr>
          <p:cNvSpPr/>
          <p:nvPr userDrawn="1"/>
        </p:nvSpPr>
        <p:spPr>
          <a:xfrm>
            <a:off x="635835" y="3931064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456D8E82-4B17-8A44-A98F-D28F51A811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84575" y="4113726"/>
            <a:ext cx="7012180" cy="110331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320" b="1" i="0">
                <a:solidFill>
                  <a:schemeClr val="bg1"/>
                </a:solidFill>
                <a:latin typeface="Tahoma Regular"/>
              </a:defRPr>
            </a:lvl1pPr>
          </a:lstStyle>
          <a:p>
            <a:pPr lvl="0"/>
            <a:r>
              <a:rPr lang="en-US" dirty="0"/>
              <a:t>DIVIDER TITLE GOES HERE</a:t>
            </a:r>
          </a:p>
          <a:p>
            <a:pPr lvl="0"/>
            <a:r>
              <a:rPr lang="en-US" dirty="0"/>
              <a:t>ON TWO LINES IF NECESSARY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273F8075-A63D-2243-8DDD-A3E491BD42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84371" y="5217038"/>
            <a:ext cx="6248013" cy="15182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="0" i="0">
                <a:solidFill>
                  <a:schemeClr val="bg1"/>
                </a:solidFill>
                <a:latin typeface="Tahoma Regular"/>
              </a:defRPr>
            </a:lvl1pPr>
            <a:lvl2pPr marL="446410" indent="0">
              <a:buNone/>
              <a:defRPr>
                <a:solidFill>
                  <a:schemeClr val="bg1"/>
                </a:solidFill>
              </a:defRPr>
            </a:lvl2pPr>
            <a:lvl3pPr marL="892820" indent="0">
              <a:buNone/>
              <a:defRPr>
                <a:solidFill>
                  <a:schemeClr val="bg1"/>
                </a:solidFill>
              </a:defRPr>
            </a:lvl3pPr>
            <a:lvl4pPr marL="1339230" indent="0">
              <a:buNone/>
              <a:defRPr>
                <a:solidFill>
                  <a:schemeClr val="bg1"/>
                </a:solidFill>
              </a:defRPr>
            </a:lvl4pPr>
            <a:lvl5pPr marL="178564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o:</a:t>
            </a:r>
          </a:p>
          <a:p>
            <a:pPr lvl="0"/>
            <a:r>
              <a:rPr lang="en-US" dirty="0"/>
              <a:t>Company name goes here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2020/00/00</a:t>
            </a:r>
          </a:p>
        </p:txBody>
      </p:sp>
    </p:spTree>
    <p:extLst>
      <p:ext uri="{BB962C8B-B14F-4D97-AF65-F5344CB8AC3E}">
        <p14:creationId xmlns:p14="http://schemas.microsoft.com/office/powerpoint/2010/main" val="211114423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2210879-F914-1844-A75A-92744177F94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2603" y="334537"/>
            <a:ext cx="9145218" cy="1035307"/>
          </a:xfrm>
          <a:prstGeom prst="rect">
            <a:avLst/>
          </a:prstGeom>
        </p:spPr>
        <p:txBody>
          <a:bodyPr anchor="b"/>
          <a:lstStyle>
            <a:lvl1pPr marL="12700" algn="l">
              <a:spcBef>
                <a:spcPts val="115"/>
              </a:spcBef>
              <a:defRPr sz="3100" b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12700" algn="l">
              <a:spcBef>
                <a:spcPts val="115"/>
              </a:spcBef>
            </a:pPr>
            <a:r>
              <a:rPr lang="en-ZA" sz="3200" kern="0" spc="5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</a:rPr>
              <a:t>SLIDE TITLE GOES</a:t>
            </a:r>
            <a:r>
              <a:rPr lang="en-ZA" sz="3200" kern="0" spc="-165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</a:rPr>
              <a:t> </a:t>
            </a:r>
            <a:r>
              <a:rPr lang="en-ZA" sz="3200" kern="0" spc="5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</a:rPr>
              <a:t>HERE</a:t>
            </a:r>
            <a:br>
              <a:rPr lang="en-ZA" sz="3200" kern="0" spc="5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</a:rPr>
            </a:br>
            <a:r>
              <a:rPr lang="en-ZA" sz="3200" kern="0" spc="5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</a:rPr>
              <a:t>ON </a:t>
            </a:r>
            <a:r>
              <a:rPr lang="en-ZA" sz="3200" kern="0" spc="10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</a:rPr>
              <a:t>TWO </a:t>
            </a:r>
            <a:r>
              <a:rPr lang="en-ZA" sz="3200" kern="0" spc="5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</a:rPr>
              <a:t>LINES IF</a:t>
            </a:r>
            <a:r>
              <a:rPr lang="en-ZA" sz="3200" kern="0" spc="-235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</a:rPr>
              <a:t> </a:t>
            </a:r>
            <a:r>
              <a:rPr lang="en-ZA" sz="3200" kern="0" spc="-25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</a:rPr>
              <a:t>NECESSARY</a:t>
            </a:r>
          </a:p>
        </p:txBody>
      </p:sp>
    </p:spTree>
    <p:extLst>
      <p:ext uri="{BB962C8B-B14F-4D97-AF65-F5344CB8AC3E}">
        <p14:creationId xmlns:p14="http://schemas.microsoft.com/office/powerpoint/2010/main" val="87066063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Graph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Titles PAGE2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1" y="0"/>
            <a:ext cx="12188249" cy="6858000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696976" y="6527033"/>
            <a:ext cx="1077350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1204" y="453073"/>
            <a:ext cx="10238214" cy="0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182508" y="71120"/>
            <a:ext cx="1688123" cy="64770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587329" y="6616442"/>
            <a:ext cx="518069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US" sz="1200" b="0" i="0" u="none" strike="noStrike" kern="1200" baseline="30000" dirty="0">
                <a:solidFill>
                  <a:srgbClr val="E6292B"/>
                </a:solidFill>
                <a:latin typeface="ApexSans-Book"/>
                <a:ea typeface="ＭＳ Ｐゴシック" charset="0"/>
                <a:cs typeface="ApexSans-Book"/>
              </a:rPr>
              <a:t>Results Announcement </a:t>
            </a:r>
            <a:r>
              <a:rPr lang="en-US" sz="1200" b="0" i="0" u="none" strike="noStrike" kern="1200" baseline="30000" dirty="0">
                <a:solidFill>
                  <a:srgbClr val="E6292B"/>
                </a:solidFill>
                <a:latin typeface="ApexSans-Bold"/>
                <a:ea typeface="ＭＳ Ｐゴシック" charset="0"/>
                <a:cs typeface="ApexSans-Bold"/>
              </a:rPr>
              <a:t>2016</a:t>
            </a:r>
          </a:p>
        </p:txBody>
      </p:sp>
    </p:spTree>
    <p:extLst>
      <p:ext uri="{BB962C8B-B14F-4D97-AF65-F5344CB8AC3E}">
        <p14:creationId xmlns:p14="http://schemas.microsoft.com/office/powerpoint/2010/main" val="38738984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17912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3419BA2B-CD57-53EE-397D-95B77E2910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7895" y="3429000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323907A-9933-E4B0-2CF7-72CC82888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4081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7456" y="1783669"/>
            <a:ext cx="4581382" cy="430887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47456" y="2728306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B3F589F-2371-83D8-F684-3450621F48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6798" y="260004"/>
            <a:ext cx="1428987" cy="97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25019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559081"/>
            <a:ext cx="5741486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0BD579-4CC2-EDC1-6F2E-4E4E271189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6798" y="260004"/>
            <a:ext cx="1428987" cy="97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8725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 descr="A desk with technical drawings, pencil and tools">
            <a:extLst>
              <a:ext uri="{FF2B5EF4-FFF2-40B4-BE49-F238E27FC236}">
                <a16:creationId xmlns:a16="http://schemas.microsoft.com/office/drawing/2014/main" id="{34BADCB9-88FF-853F-7CB9-967EA4291D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3065186"/>
            <a:ext cx="2735044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79272244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>
            <a:extLst>
              <a:ext uri="{FF2B5EF4-FFF2-40B4-BE49-F238E27FC236}">
                <a16:creationId xmlns:a16="http://schemas.microsoft.com/office/drawing/2014/main" id="{34BADCB9-88FF-853F-7CB9-967EA4291D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6A86DB4-8A0E-5852-A8CA-D1F0D4A0FEF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16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3065186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9354827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15" descr="Aerial view of container ship">
            <a:extLst>
              <a:ext uri="{FF2B5EF4-FFF2-40B4-BE49-F238E27FC236}">
                <a16:creationId xmlns:a16="http://schemas.microsoft.com/office/drawing/2014/main" id="{7B4597E5-7462-D917-B3FC-691CFD46CE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43878293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15">
            <a:extLst>
              <a:ext uri="{FF2B5EF4-FFF2-40B4-BE49-F238E27FC236}">
                <a16:creationId xmlns:a16="http://schemas.microsoft.com/office/drawing/2014/main" id="{7B4597E5-7462-D917-B3FC-691CFD46CE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7895" y="339079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077D36-9B62-FD3B-4F96-ED9C71D7A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07808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969071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3419BA2B-CD57-53EE-397D-95B77E2910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7895" y="3429000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323907A-9933-E4B0-2CF7-72CC82888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79086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3419BA2B-CD57-53EE-397D-95B77E2910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8506" y="3308789"/>
            <a:ext cx="5099774" cy="484025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here and here and here</a:t>
            </a:r>
            <a:endParaRPr lang="en-GB" sz="24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B194933-7819-E06D-72CA-3D249A06F1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07808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36803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EE5FA182-F7DE-7FF9-AF9F-6B97D1F061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559081"/>
            <a:ext cx="5741486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06923503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EE5FA182-F7DE-7FF9-AF9F-6B97D1F061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A525C38-6FFD-DE61-F2F9-A74DA63DDA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2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2532" y="1559081"/>
            <a:ext cx="4205747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4292988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3419BA2B-CD57-53EE-397D-95B77E2910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8506" y="3308789"/>
            <a:ext cx="5099774" cy="484025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here and here and here</a:t>
            </a:r>
            <a:endParaRPr lang="en-GB" sz="24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B194933-7819-E06D-72CA-3D249A06F1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07808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45100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C3784C0-AEDF-10DD-4608-3BD04462041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6932" y="1559081"/>
            <a:ext cx="4561347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sp>
        <p:nvSpPr>
          <p:cNvPr id="3" name="Graphic 4">
            <a:extLst>
              <a:ext uri="{FF2B5EF4-FFF2-40B4-BE49-F238E27FC236}">
                <a16:creationId xmlns:a16="http://schemas.microsoft.com/office/drawing/2014/main" id="{D1BD1A9C-0B6C-5E16-67BF-F46E6D548358}"/>
              </a:ext>
            </a:extLst>
          </p:cNvPr>
          <p:cNvSpPr/>
          <p:nvPr userDrawn="1"/>
        </p:nvSpPr>
        <p:spPr>
          <a:xfrm>
            <a:off x="629600" y="913946"/>
            <a:ext cx="9089796" cy="5365238"/>
          </a:xfrm>
          <a:custGeom>
            <a:avLst/>
            <a:gdLst>
              <a:gd name="connsiteX0" fmla="*/ 2718340 w 6829615"/>
              <a:gd name="connsiteY0" fmla="*/ 4031171 h 4031170"/>
              <a:gd name="connsiteX1" fmla="*/ 2288381 w 6829615"/>
              <a:gd name="connsiteY1" fmla="*/ 4028504 h 4031170"/>
              <a:gd name="connsiteX2" fmla="*/ 1978724 w 6829615"/>
              <a:gd name="connsiteY2" fmla="*/ 3663887 h 4031170"/>
              <a:gd name="connsiteX3" fmla="*/ 1978724 w 6829615"/>
              <a:gd name="connsiteY3" fmla="*/ 3314129 h 4031170"/>
              <a:gd name="connsiteX4" fmla="*/ 1742980 w 6829615"/>
              <a:gd name="connsiteY4" fmla="*/ 2885599 h 4031170"/>
              <a:gd name="connsiteX5" fmla="*/ 1743742 w 6829615"/>
              <a:gd name="connsiteY5" fmla="*/ 2627662 h 4031170"/>
              <a:gd name="connsiteX6" fmla="*/ 1603534 w 6829615"/>
              <a:gd name="connsiteY6" fmla="*/ 2383631 h 4031170"/>
              <a:gd name="connsiteX7" fmla="*/ 1603534 w 6829615"/>
              <a:gd name="connsiteY7" fmla="*/ 1988344 h 4031170"/>
              <a:gd name="connsiteX8" fmla="*/ 1563624 w 6829615"/>
              <a:gd name="connsiteY8" fmla="*/ 1916906 h 4031170"/>
              <a:gd name="connsiteX9" fmla="*/ 1009840 w 6829615"/>
              <a:gd name="connsiteY9" fmla="*/ 1916906 h 4031170"/>
              <a:gd name="connsiteX10" fmla="*/ 947833 w 6829615"/>
              <a:gd name="connsiteY10" fmla="*/ 2024443 h 4031170"/>
              <a:gd name="connsiteX11" fmla="*/ 351282 w 6829615"/>
              <a:gd name="connsiteY11" fmla="*/ 2024443 h 4031170"/>
              <a:gd name="connsiteX12" fmla="*/ 0 w 6829615"/>
              <a:gd name="connsiteY12" fmla="*/ 1478661 h 4031170"/>
              <a:gd name="connsiteX13" fmla="*/ 0 w 6829615"/>
              <a:gd name="connsiteY13" fmla="*/ 860965 h 4031170"/>
              <a:gd name="connsiteX14" fmla="*/ 512636 w 6829615"/>
              <a:gd name="connsiteY14" fmla="*/ 0 h 4031170"/>
              <a:gd name="connsiteX15" fmla="*/ 1361408 w 6829615"/>
              <a:gd name="connsiteY15" fmla="*/ 0 h 4031170"/>
              <a:gd name="connsiteX16" fmla="*/ 1537526 w 6829615"/>
              <a:gd name="connsiteY16" fmla="*/ 290417 h 4031170"/>
              <a:gd name="connsiteX17" fmla="*/ 1638967 w 6829615"/>
              <a:gd name="connsiteY17" fmla="*/ 289751 h 4031170"/>
              <a:gd name="connsiteX18" fmla="*/ 1798130 w 6829615"/>
              <a:gd name="connsiteY18" fmla="*/ 0 h 4031170"/>
              <a:gd name="connsiteX19" fmla="*/ 6829616 w 6829615"/>
              <a:gd name="connsiteY19" fmla="*/ 0 h 4031170"/>
              <a:gd name="connsiteX20" fmla="*/ 6829616 w 6829615"/>
              <a:gd name="connsiteY20" fmla="*/ 161925 h 4031170"/>
              <a:gd name="connsiteX21" fmla="*/ 1893951 w 6829615"/>
              <a:gd name="connsiteY21" fmla="*/ 161925 h 4031170"/>
              <a:gd name="connsiteX22" fmla="*/ 1735169 w 6829615"/>
              <a:gd name="connsiteY22" fmla="*/ 451104 h 4031170"/>
              <a:gd name="connsiteX23" fmla="*/ 1446752 w 6829615"/>
              <a:gd name="connsiteY23" fmla="*/ 452914 h 4031170"/>
              <a:gd name="connsiteX24" fmla="*/ 1270254 w 6829615"/>
              <a:gd name="connsiteY24" fmla="*/ 161925 h 4031170"/>
              <a:gd name="connsiteX25" fmla="*/ 604647 w 6829615"/>
              <a:gd name="connsiteY25" fmla="*/ 161925 h 4031170"/>
              <a:gd name="connsiteX26" fmla="*/ 161925 w 6829615"/>
              <a:gd name="connsiteY26" fmla="*/ 905447 h 4031170"/>
              <a:gd name="connsiteX27" fmla="*/ 161925 w 6829615"/>
              <a:gd name="connsiteY27" fmla="*/ 1431036 h 4031170"/>
              <a:gd name="connsiteX28" fmla="*/ 439674 w 6829615"/>
              <a:gd name="connsiteY28" fmla="*/ 1862518 h 4031170"/>
              <a:gd name="connsiteX29" fmla="*/ 854297 w 6829615"/>
              <a:gd name="connsiteY29" fmla="*/ 1862518 h 4031170"/>
              <a:gd name="connsiteX30" fmla="*/ 916305 w 6829615"/>
              <a:gd name="connsiteY30" fmla="*/ 1754981 h 4031170"/>
              <a:gd name="connsiteX31" fmla="*/ 1658684 w 6829615"/>
              <a:gd name="connsiteY31" fmla="*/ 1754981 h 4031170"/>
              <a:gd name="connsiteX32" fmla="*/ 1765459 w 6829615"/>
              <a:gd name="connsiteY32" fmla="*/ 1946148 h 4031170"/>
              <a:gd name="connsiteX33" fmla="*/ 1765459 w 6829615"/>
              <a:gd name="connsiteY33" fmla="*/ 2340388 h 4031170"/>
              <a:gd name="connsiteX34" fmla="*/ 1905762 w 6829615"/>
              <a:gd name="connsiteY34" fmla="*/ 2584704 h 4031170"/>
              <a:gd name="connsiteX35" fmla="*/ 1905000 w 6829615"/>
              <a:gd name="connsiteY35" fmla="*/ 2844260 h 4031170"/>
              <a:gd name="connsiteX36" fmla="*/ 2140649 w 6829615"/>
              <a:gd name="connsiteY36" fmla="*/ 3272504 h 4031170"/>
              <a:gd name="connsiteX37" fmla="*/ 2140649 w 6829615"/>
              <a:gd name="connsiteY37" fmla="*/ 3604451 h 4031170"/>
              <a:gd name="connsiteX38" fmla="*/ 2363724 w 6829615"/>
              <a:gd name="connsiteY38" fmla="*/ 3867055 h 4031170"/>
              <a:gd name="connsiteX39" fmla="*/ 2627090 w 6829615"/>
              <a:gd name="connsiteY39" fmla="*/ 3868674 h 4031170"/>
              <a:gd name="connsiteX40" fmla="*/ 2764250 w 6829615"/>
              <a:gd name="connsiteY40" fmla="*/ 3640646 h 4031170"/>
              <a:gd name="connsiteX41" fmla="*/ 2764250 w 6829615"/>
              <a:gd name="connsiteY41" fmla="*/ 3422047 h 4031170"/>
              <a:gd name="connsiteX42" fmla="*/ 3150203 w 6829615"/>
              <a:gd name="connsiteY42" fmla="*/ 2817019 h 4031170"/>
              <a:gd name="connsiteX43" fmla="*/ 3150203 w 6829615"/>
              <a:gd name="connsiteY43" fmla="*/ 2411444 h 4031170"/>
              <a:gd name="connsiteX44" fmla="*/ 3374231 w 6829615"/>
              <a:gd name="connsiteY44" fmla="*/ 2058067 h 4031170"/>
              <a:gd name="connsiteX45" fmla="*/ 3595973 w 6829615"/>
              <a:gd name="connsiteY45" fmla="*/ 2060448 h 4031170"/>
              <a:gd name="connsiteX46" fmla="*/ 3872960 w 6829615"/>
              <a:gd name="connsiteY46" fmla="*/ 1576007 h 4031170"/>
              <a:gd name="connsiteX47" fmla="*/ 3284982 w 6829615"/>
              <a:gd name="connsiteY47" fmla="*/ 1576007 h 4031170"/>
              <a:gd name="connsiteX48" fmla="*/ 3057049 w 6829615"/>
              <a:gd name="connsiteY48" fmla="*/ 1184529 h 4031170"/>
              <a:gd name="connsiteX49" fmla="*/ 3057525 w 6829615"/>
              <a:gd name="connsiteY49" fmla="*/ 867728 h 4031170"/>
              <a:gd name="connsiteX50" fmla="*/ 2748724 w 6829615"/>
              <a:gd name="connsiteY50" fmla="*/ 440912 h 4031170"/>
              <a:gd name="connsiteX51" fmla="*/ 2058638 w 6829615"/>
              <a:gd name="connsiteY51" fmla="*/ 440912 h 4031170"/>
              <a:gd name="connsiteX52" fmla="*/ 1873853 w 6829615"/>
              <a:gd name="connsiteY52" fmla="*/ 778097 h 4031170"/>
              <a:gd name="connsiteX53" fmla="*/ 1305116 w 6829615"/>
              <a:gd name="connsiteY53" fmla="*/ 778097 h 4031170"/>
              <a:gd name="connsiteX54" fmla="*/ 1102233 w 6829615"/>
              <a:gd name="connsiteY54" fmla="*/ 431387 h 4031170"/>
              <a:gd name="connsiteX55" fmla="*/ 739426 w 6829615"/>
              <a:gd name="connsiteY55" fmla="*/ 431387 h 4031170"/>
              <a:gd name="connsiteX56" fmla="*/ 421196 w 6829615"/>
              <a:gd name="connsiteY56" fmla="*/ 995077 h 4031170"/>
              <a:gd name="connsiteX57" fmla="*/ 428435 w 6829615"/>
              <a:gd name="connsiteY57" fmla="*/ 1339787 h 4031170"/>
              <a:gd name="connsiteX58" fmla="*/ 598075 w 6829615"/>
              <a:gd name="connsiteY58" fmla="*/ 1584389 h 4031170"/>
              <a:gd name="connsiteX59" fmla="*/ 720471 w 6829615"/>
              <a:gd name="connsiteY59" fmla="*/ 1584389 h 4031170"/>
              <a:gd name="connsiteX60" fmla="*/ 823817 w 6829615"/>
              <a:gd name="connsiteY60" fmla="*/ 1449229 h 4031170"/>
              <a:gd name="connsiteX61" fmla="*/ 1788795 w 6829615"/>
              <a:gd name="connsiteY61" fmla="*/ 1449229 h 4031170"/>
              <a:gd name="connsiteX62" fmla="*/ 2030825 w 6829615"/>
              <a:gd name="connsiteY62" fmla="*/ 1890046 h 4031170"/>
              <a:gd name="connsiteX63" fmla="*/ 2030825 w 6829615"/>
              <a:gd name="connsiteY63" fmla="*/ 2294763 h 4031170"/>
              <a:gd name="connsiteX64" fmla="*/ 2171414 w 6829615"/>
              <a:gd name="connsiteY64" fmla="*/ 2536222 h 4031170"/>
              <a:gd name="connsiteX65" fmla="*/ 2171414 w 6829615"/>
              <a:gd name="connsiteY65" fmla="*/ 2782348 h 4031170"/>
              <a:gd name="connsiteX66" fmla="*/ 2424017 w 6829615"/>
              <a:gd name="connsiteY66" fmla="*/ 3204782 h 4031170"/>
              <a:gd name="connsiteX67" fmla="*/ 2424017 w 6829615"/>
              <a:gd name="connsiteY67" fmla="*/ 3455861 h 4031170"/>
              <a:gd name="connsiteX68" fmla="*/ 2493740 w 6829615"/>
              <a:gd name="connsiteY68" fmla="*/ 3546824 h 4031170"/>
              <a:gd name="connsiteX69" fmla="*/ 2523554 w 6829615"/>
              <a:gd name="connsiteY69" fmla="*/ 3497485 h 4031170"/>
              <a:gd name="connsiteX70" fmla="*/ 2523554 w 6829615"/>
              <a:gd name="connsiteY70" fmla="*/ 3311366 h 4031170"/>
              <a:gd name="connsiteX71" fmla="*/ 2882741 w 6829615"/>
              <a:gd name="connsiteY71" fmla="*/ 2736723 h 4031170"/>
              <a:gd name="connsiteX72" fmla="*/ 2885694 w 6829615"/>
              <a:gd name="connsiteY72" fmla="*/ 2291906 h 4031170"/>
              <a:gd name="connsiteX73" fmla="*/ 3159919 w 6829615"/>
              <a:gd name="connsiteY73" fmla="*/ 1831372 h 4031170"/>
              <a:gd name="connsiteX74" fmla="*/ 3448907 w 6829615"/>
              <a:gd name="connsiteY74" fmla="*/ 1830324 h 4031170"/>
              <a:gd name="connsiteX75" fmla="*/ 3463671 w 6829615"/>
              <a:gd name="connsiteY75" fmla="*/ 1805464 h 4031170"/>
              <a:gd name="connsiteX76" fmla="*/ 3139345 w 6829615"/>
              <a:gd name="connsiteY76" fmla="*/ 1804226 h 4031170"/>
              <a:gd name="connsiteX77" fmla="*/ 2795969 w 6829615"/>
              <a:gd name="connsiteY77" fmla="*/ 1241489 h 4031170"/>
              <a:gd name="connsiteX78" fmla="*/ 2806637 w 6829615"/>
              <a:gd name="connsiteY78" fmla="*/ 959072 h 4031170"/>
              <a:gd name="connsiteX79" fmla="*/ 2635949 w 6829615"/>
              <a:gd name="connsiteY79" fmla="*/ 708470 h 4031170"/>
              <a:gd name="connsiteX80" fmla="*/ 2205990 w 6829615"/>
              <a:gd name="connsiteY80" fmla="*/ 706184 h 4031170"/>
              <a:gd name="connsiteX81" fmla="*/ 2018062 w 6829615"/>
              <a:gd name="connsiteY81" fmla="*/ 1035939 h 4031170"/>
              <a:gd name="connsiteX82" fmla="*/ 1136618 w 6829615"/>
              <a:gd name="connsiteY82" fmla="*/ 1035939 h 4031170"/>
              <a:gd name="connsiteX83" fmla="*/ 966883 w 6829615"/>
              <a:gd name="connsiteY83" fmla="*/ 719423 h 4031170"/>
              <a:gd name="connsiteX84" fmla="*/ 906685 w 6829615"/>
              <a:gd name="connsiteY84" fmla="*/ 719423 h 4031170"/>
              <a:gd name="connsiteX85" fmla="*/ 707708 w 6829615"/>
              <a:gd name="connsiteY85" fmla="*/ 1096709 h 4031170"/>
              <a:gd name="connsiteX86" fmla="*/ 708946 w 6829615"/>
              <a:gd name="connsiteY86" fmla="*/ 1153954 h 4031170"/>
              <a:gd name="connsiteX87" fmla="*/ 2203990 w 6829615"/>
              <a:gd name="connsiteY87" fmla="*/ 1154811 h 4031170"/>
              <a:gd name="connsiteX88" fmla="*/ 2355342 w 6829615"/>
              <a:gd name="connsiteY88" fmla="*/ 858298 h 4031170"/>
              <a:gd name="connsiteX89" fmla="*/ 2559749 w 6829615"/>
              <a:gd name="connsiteY89" fmla="*/ 858298 h 4031170"/>
              <a:gd name="connsiteX90" fmla="*/ 2688812 w 6829615"/>
              <a:gd name="connsiteY90" fmla="*/ 1028414 h 4031170"/>
              <a:gd name="connsiteX91" fmla="*/ 2688812 w 6829615"/>
              <a:gd name="connsiteY91" fmla="*/ 1353217 h 4031170"/>
              <a:gd name="connsiteX92" fmla="*/ 3007519 w 6829615"/>
              <a:gd name="connsiteY92" fmla="*/ 1887664 h 4031170"/>
              <a:gd name="connsiteX93" fmla="*/ 2767394 w 6829615"/>
              <a:gd name="connsiteY93" fmla="*/ 2247900 h 4031170"/>
              <a:gd name="connsiteX94" fmla="*/ 2761583 w 6829615"/>
              <a:gd name="connsiteY94" fmla="*/ 2718149 h 4031170"/>
              <a:gd name="connsiteX95" fmla="*/ 2500313 w 6829615"/>
              <a:gd name="connsiteY95" fmla="*/ 3111532 h 4031170"/>
              <a:gd name="connsiteX96" fmla="*/ 2262378 w 6829615"/>
              <a:gd name="connsiteY96" fmla="*/ 2712149 h 4031170"/>
              <a:gd name="connsiteX97" fmla="*/ 2262378 w 6829615"/>
              <a:gd name="connsiteY97" fmla="*/ 2427446 h 4031170"/>
              <a:gd name="connsiteX98" fmla="*/ 2158460 w 6829615"/>
              <a:gd name="connsiteY98" fmla="*/ 2257139 h 4031170"/>
              <a:gd name="connsiteX99" fmla="*/ 2158460 w 6829615"/>
              <a:gd name="connsiteY99" fmla="*/ 1856708 h 4031170"/>
              <a:gd name="connsiteX100" fmla="*/ 1913192 w 6829615"/>
              <a:gd name="connsiteY100" fmla="*/ 1441323 h 4031170"/>
              <a:gd name="connsiteX101" fmla="*/ 2415635 w 6829615"/>
              <a:gd name="connsiteY101" fmla="*/ 1441323 h 4031170"/>
              <a:gd name="connsiteX102" fmla="*/ 2683859 w 6829615"/>
              <a:gd name="connsiteY102" fmla="*/ 1863090 h 4031170"/>
              <a:gd name="connsiteX103" fmla="*/ 2526887 w 6829615"/>
              <a:gd name="connsiteY103" fmla="*/ 2100072 h 4031170"/>
              <a:gd name="connsiteX104" fmla="*/ 2526887 w 6829615"/>
              <a:gd name="connsiteY104" fmla="*/ 2145125 h 4031170"/>
              <a:gd name="connsiteX105" fmla="*/ 2364962 w 6829615"/>
              <a:gd name="connsiteY105" fmla="*/ 2145125 h 4031170"/>
              <a:gd name="connsiteX106" fmla="*/ 2364962 w 6829615"/>
              <a:gd name="connsiteY106" fmla="*/ 2051399 h 4031170"/>
              <a:gd name="connsiteX107" fmla="*/ 2490788 w 6829615"/>
              <a:gd name="connsiteY107" fmla="*/ 1861280 h 4031170"/>
              <a:gd name="connsiteX108" fmla="*/ 2326672 w 6829615"/>
              <a:gd name="connsiteY108" fmla="*/ 1603248 h 4031170"/>
              <a:gd name="connsiteX109" fmla="*/ 2196846 w 6829615"/>
              <a:gd name="connsiteY109" fmla="*/ 1603248 h 4031170"/>
              <a:gd name="connsiteX110" fmla="*/ 2320385 w 6829615"/>
              <a:gd name="connsiteY110" fmla="*/ 1812417 h 4031170"/>
              <a:gd name="connsiteX111" fmla="*/ 2320385 w 6829615"/>
              <a:gd name="connsiteY111" fmla="*/ 2211705 h 4031170"/>
              <a:gd name="connsiteX112" fmla="*/ 2424303 w 6829615"/>
              <a:gd name="connsiteY112" fmla="*/ 2381917 h 4031170"/>
              <a:gd name="connsiteX113" fmla="*/ 2424303 w 6829615"/>
              <a:gd name="connsiteY113" fmla="*/ 2667572 h 4031170"/>
              <a:gd name="connsiteX114" fmla="*/ 2507742 w 6829615"/>
              <a:gd name="connsiteY114" fmla="*/ 2807684 h 4031170"/>
              <a:gd name="connsiteX115" fmla="*/ 2600325 w 6829615"/>
              <a:gd name="connsiteY115" fmla="*/ 2668334 h 4031170"/>
              <a:gd name="connsiteX116" fmla="*/ 2606040 w 6829615"/>
              <a:gd name="connsiteY116" fmla="*/ 2197894 h 4031170"/>
              <a:gd name="connsiteX117" fmla="*/ 2816066 w 6829615"/>
              <a:gd name="connsiteY117" fmla="*/ 1882902 h 4031170"/>
              <a:gd name="connsiteX118" fmla="*/ 2526887 w 6829615"/>
              <a:gd name="connsiteY118" fmla="*/ 1397794 h 4031170"/>
              <a:gd name="connsiteX119" fmla="*/ 2526887 w 6829615"/>
              <a:gd name="connsiteY119" fmla="*/ 1082897 h 4031170"/>
              <a:gd name="connsiteX120" fmla="*/ 2479358 w 6829615"/>
              <a:gd name="connsiteY120" fmla="*/ 1020223 h 4031170"/>
              <a:gd name="connsiteX121" fmla="*/ 2454497 w 6829615"/>
              <a:gd name="connsiteY121" fmla="*/ 1020223 h 4031170"/>
              <a:gd name="connsiteX122" fmla="*/ 2303145 w 6829615"/>
              <a:gd name="connsiteY122" fmla="*/ 1316831 h 4031170"/>
              <a:gd name="connsiteX123" fmla="*/ 759143 w 6829615"/>
              <a:gd name="connsiteY123" fmla="*/ 1315974 h 4031170"/>
              <a:gd name="connsiteX124" fmla="*/ 686562 w 6829615"/>
              <a:gd name="connsiteY124" fmla="*/ 1377315 h 4031170"/>
              <a:gd name="connsiteX125" fmla="*/ 602647 w 6829615"/>
              <a:gd name="connsiteY125" fmla="*/ 1378744 h 4031170"/>
              <a:gd name="connsiteX126" fmla="*/ 550259 w 6829615"/>
              <a:gd name="connsiteY126" fmla="*/ 1309402 h 4031170"/>
              <a:gd name="connsiteX127" fmla="*/ 545021 w 6829615"/>
              <a:gd name="connsiteY127" fmla="*/ 1058228 h 4031170"/>
              <a:gd name="connsiteX128" fmla="*/ 808958 w 6829615"/>
              <a:gd name="connsiteY128" fmla="*/ 557498 h 4031170"/>
              <a:gd name="connsiteX129" fmla="*/ 1063752 w 6829615"/>
              <a:gd name="connsiteY129" fmla="*/ 557498 h 4031170"/>
              <a:gd name="connsiteX130" fmla="*/ 1233583 w 6829615"/>
              <a:gd name="connsiteY130" fmla="*/ 874014 h 4031170"/>
              <a:gd name="connsiteX131" fmla="*/ 1923955 w 6829615"/>
              <a:gd name="connsiteY131" fmla="*/ 874014 h 4031170"/>
              <a:gd name="connsiteX132" fmla="*/ 2112264 w 6829615"/>
              <a:gd name="connsiteY132" fmla="*/ 543687 h 4031170"/>
              <a:gd name="connsiteX133" fmla="*/ 2721864 w 6829615"/>
              <a:gd name="connsiteY133" fmla="*/ 547021 h 4031170"/>
              <a:gd name="connsiteX134" fmla="*/ 2970371 w 6829615"/>
              <a:gd name="connsiteY134" fmla="*/ 911924 h 4031170"/>
              <a:gd name="connsiteX135" fmla="*/ 2959608 w 6829615"/>
              <a:gd name="connsiteY135" fmla="*/ 1198721 h 4031170"/>
              <a:gd name="connsiteX136" fmla="*/ 3230404 w 6829615"/>
              <a:gd name="connsiteY136" fmla="*/ 1642682 h 4031170"/>
              <a:gd name="connsiteX137" fmla="*/ 3747326 w 6829615"/>
              <a:gd name="connsiteY137" fmla="*/ 1644587 h 4031170"/>
              <a:gd name="connsiteX138" fmla="*/ 3541300 w 6829615"/>
              <a:gd name="connsiteY138" fmla="*/ 1991868 h 4031170"/>
              <a:gd name="connsiteX139" fmla="*/ 3252216 w 6829615"/>
              <a:gd name="connsiteY139" fmla="*/ 1993011 h 4031170"/>
              <a:gd name="connsiteX140" fmla="*/ 3047333 w 6829615"/>
              <a:gd name="connsiteY140" fmla="*/ 2336959 h 4031170"/>
              <a:gd name="connsiteX141" fmla="*/ 3044381 w 6829615"/>
              <a:gd name="connsiteY141" fmla="*/ 2783681 h 4031170"/>
              <a:gd name="connsiteX142" fmla="*/ 2685479 w 6829615"/>
              <a:gd name="connsiteY142" fmla="*/ 3357848 h 4031170"/>
              <a:gd name="connsiteX143" fmla="*/ 2685479 w 6829615"/>
              <a:gd name="connsiteY143" fmla="*/ 3542633 h 4031170"/>
              <a:gd name="connsiteX144" fmla="*/ 2572417 w 6829615"/>
              <a:gd name="connsiteY144" fmla="*/ 3729704 h 4031170"/>
              <a:gd name="connsiteX145" fmla="*/ 2429923 w 6829615"/>
              <a:gd name="connsiteY145" fmla="*/ 3729704 h 4031170"/>
              <a:gd name="connsiteX146" fmla="*/ 2262092 w 6829615"/>
              <a:gd name="connsiteY146" fmla="*/ 3510820 h 4031170"/>
              <a:gd name="connsiteX147" fmla="*/ 2262092 w 6829615"/>
              <a:gd name="connsiteY147" fmla="*/ 3249454 h 4031170"/>
              <a:gd name="connsiteX148" fmla="*/ 2009489 w 6829615"/>
              <a:gd name="connsiteY148" fmla="*/ 2827115 h 4031170"/>
              <a:gd name="connsiteX149" fmla="*/ 2009489 w 6829615"/>
              <a:gd name="connsiteY149" fmla="*/ 2579941 h 4031170"/>
              <a:gd name="connsiteX150" fmla="*/ 1868900 w 6829615"/>
              <a:gd name="connsiteY150" fmla="*/ 2338483 h 4031170"/>
              <a:gd name="connsiteX151" fmla="*/ 1868900 w 6829615"/>
              <a:gd name="connsiteY151" fmla="*/ 1931575 h 4031170"/>
              <a:gd name="connsiteX152" fmla="*/ 1692974 w 6829615"/>
              <a:gd name="connsiteY152" fmla="*/ 1611154 h 4031170"/>
              <a:gd name="connsiteX153" fmla="*/ 903827 w 6829615"/>
              <a:gd name="connsiteY153" fmla="*/ 1611154 h 4031170"/>
              <a:gd name="connsiteX154" fmla="*/ 800481 w 6829615"/>
              <a:gd name="connsiteY154" fmla="*/ 1746314 h 4031170"/>
              <a:gd name="connsiteX155" fmla="*/ 513398 w 6829615"/>
              <a:gd name="connsiteY155" fmla="*/ 1746314 h 4031170"/>
              <a:gd name="connsiteX156" fmla="*/ 267653 w 6829615"/>
              <a:gd name="connsiteY156" fmla="*/ 1391984 h 4031170"/>
              <a:gd name="connsiteX157" fmla="*/ 258413 w 6829615"/>
              <a:gd name="connsiteY157" fmla="*/ 954119 h 4031170"/>
              <a:gd name="connsiteX158" fmla="*/ 644843 w 6829615"/>
              <a:gd name="connsiteY158" fmla="*/ 269462 h 4031170"/>
              <a:gd name="connsiteX159" fmla="*/ 1195102 w 6829615"/>
              <a:gd name="connsiteY159" fmla="*/ 269462 h 4031170"/>
              <a:gd name="connsiteX160" fmla="*/ 1397984 w 6829615"/>
              <a:gd name="connsiteY160" fmla="*/ 616172 h 4031170"/>
              <a:gd name="connsiteX161" fmla="*/ 1777937 w 6829615"/>
              <a:gd name="connsiteY161" fmla="*/ 616172 h 4031170"/>
              <a:gd name="connsiteX162" fmla="*/ 1962722 w 6829615"/>
              <a:gd name="connsiteY162" fmla="*/ 278987 h 4031170"/>
              <a:gd name="connsiteX163" fmla="*/ 2831402 w 6829615"/>
              <a:gd name="connsiteY163" fmla="*/ 278987 h 4031170"/>
              <a:gd name="connsiteX164" fmla="*/ 3219545 w 6829615"/>
              <a:gd name="connsiteY164" fmla="*/ 815435 h 4031170"/>
              <a:gd name="connsiteX165" fmla="*/ 3219069 w 6829615"/>
              <a:gd name="connsiteY165" fmla="*/ 1140905 h 4031170"/>
              <a:gd name="connsiteX166" fmla="*/ 3378041 w 6829615"/>
              <a:gd name="connsiteY166" fmla="*/ 1414082 h 4031170"/>
              <a:gd name="connsiteX167" fmla="*/ 4152138 w 6829615"/>
              <a:gd name="connsiteY167" fmla="*/ 1414082 h 4031170"/>
              <a:gd name="connsiteX168" fmla="*/ 3689318 w 6829615"/>
              <a:gd name="connsiteY168" fmla="*/ 2223326 h 4031170"/>
              <a:gd name="connsiteX169" fmla="*/ 3462719 w 6829615"/>
              <a:gd name="connsiteY169" fmla="*/ 2220944 h 4031170"/>
              <a:gd name="connsiteX170" fmla="*/ 3312128 w 6829615"/>
              <a:gd name="connsiteY170" fmla="*/ 2458498 h 4031170"/>
              <a:gd name="connsiteX171" fmla="*/ 3312128 w 6829615"/>
              <a:gd name="connsiteY171" fmla="*/ 2864263 h 4031170"/>
              <a:gd name="connsiteX172" fmla="*/ 2926175 w 6829615"/>
              <a:gd name="connsiteY172" fmla="*/ 3469386 h 4031170"/>
              <a:gd name="connsiteX173" fmla="*/ 2926175 w 6829615"/>
              <a:gd name="connsiteY173" fmla="*/ 3685604 h 4031170"/>
              <a:gd name="connsiteX174" fmla="*/ 2718340 w 6829615"/>
              <a:gd name="connsiteY174" fmla="*/ 4031171 h 4031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829615" h="4031170">
                <a:moveTo>
                  <a:pt x="2718340" y="4031171"/>
                </a:moveTo>
                <a:lnTo>
                  <a:pt x="2288381" y="4028504"/>
                </a:lnTo>
                <a:lnTo>
                  <a:pt x="1978724" y="3663887"/>
                </a:lnTo>
                <a:lnTo>
                  <a:pt x="1978724" y="3314129"/>
                </a:lnTo>
                <a:lnTo>
                  <a:pt x="1742980" y="2885599"/>
                </a:lnTo>
                <a:lnTo>
                  <a:pt x="1743742" y="2627662"/>
                </a:lnTo>
                <a:lnTo>
                  <a:pt x="1603534" y="2383631"/>
                </a:lnTo>
                <a:lnTo>
                  <a:pt x="1603534" y="1988344"/>
                </a:lnTo>
                <a:lnTo>
                  <a:pt x="1563624" y="1916906"/>
                </a:lnTo>
                <a:lnTo>
                  <a:pt x="1009840" y="1916906"/>
                </a:lnTo>
                <a:lnTo>
                  <a:pt x="947833" y="2024443"/>
                </a:lnTo>
                <a:lnTo>
                  <a:pt x="351282" y="2024443"/>
                </a:lnTo>
                <a:lnTo>
                  <a:pt x="0" y="1478661"/>
                </a:lnTo>
                <a:lnTo>
                  <a:pt x="0" y="860965"/>
                </a:lnTo>
                <a:lnTo>
                  <a:pt x="512636" y="0"/>
                </a:lnTo>
                <a:lnTo>
                  <a:pt x="1361408" y="0"/>
                </a:lnTo>
                <a:lnTo>
                  <a:pt x="1537526" y="290417"/>
                </a:lnTo>
                <a:lnTo>
                  <a:pt x="1638967" y="289751"/>
                </a:lnTo>
                <a:lnTo>
                  <a:pt x="1798130" y="0"/>
                </a:lnTo>
                <a:lnTo>
                  <a:pt x="6829616" y="0"/>
                </a:lnTo>
                <a:lnTo>
                  <a:pt x="6829616" y="161925"/>
                </a:lnTo>
                <a:lnTo>
                  <a:pt x="1893951" y="161925"/>
                </a:lnTo>
                <a:lnTo>
                  <a:pt x="1735169" y="451104"/>
                </a:lnTo>
                <a:lnTo>
                  <a:pt x="1446752" y="452914"/>
                </a:lnTo>
                <a:lnTo>
                  <a:pt x="1270254" y="161925"/>
                </a:lnTo>
                <a:lnTo>
                  <a:pt x="604647" y="161925"/>
                </a:lnTo>
                <a:lnTo>
                  <a:pt x="161925" y="905447"/>
                </a:lnTo>
                <a:lnTo>
                  <a:pt x="161925" y="1431036"/>
                </a:lnTo>
                <a:lnTo>
                  <a:pt x="439674" y="1862518"/>
                </a:lnTo>
                <a:lnTo>
                  <a:pt x="854297" y="1862518"/>
                </a:lnTo>
                <a:lnTo>
                  <a:pt x="916305" y="1754981"/>
                </a:lnTo>
                <a:lnTo>
                  <a:pt x="1658684" y="1754981"/>
                </a:lnTo>
                <a:lnTo>
                  <a:pt x="1765459" y="1946148"/>
                </a:lnTo>
                <a:lnTo>
                  <a:pt x="1765459" y="2340388"/>
                </a:lnTo>
                <a:lnTo>
                  <a:pt x="1905762" y="2584704"/>
                </a:lnTo>
                <a:lnTo>
                  <a:pt x="1905000" y="2844260"/>
                </a:lnTo>
                <a:lnTo>
                  <a:pt x="2140649" y="3272504"/>
                </a:lnTo>
                <a:lnTo>
                  <a:pt x="2140649" y="3604451"/>
                </a:lnTo>
                <a:lnTo>
                  <a:pt x="2363724" y="3867055"/>
                </a:lnTo>
                <a:lnTo>
                  <a:pt x="2627090" y="3868674"/>
                </a:lnTo>
                <a:lnTo>
                  <a:pt x="2764250" y="3640646"/>
                </a:lnTo>
                <a:lnTo>
                  <a:pt x="2764250" y="3422047"/>
                </a:lnTo>
                <a:lnTo>
                  <a:pt x="3150203" y="2817019"/>
                </a:lnTo>
                <a:lnTo>
                  <a:pt x="3150203" y="2411444"/>
                </a:lnTo>
                <a:lnTo>
                  <a:pt x="3374231" y="2058067"/>
                </a:lnTo>
                <a:lnTo>
                  <a:pt x="3595973" y="2060448"/>
                </a:lnTo>
                <a:lnTo>
                  <a:pt x="3872960" y="1576007"/>
                </a:lnTo>
                <a:lnTo>
                  <a:pt x="3284982" y="1576007"/>
                </a:lnTo>
                <a:lnTo>
                  <a:pt x="3057049" y="1184529"/>
                </a:lnTo>
                <a:lnTo>
                  <a:pt x="3057525" y="867728"/>
                </a:lnTo>
                <a:lnTo>
                  <a:pt x="2748724" y="440912"/>
                </a:lnTo>
                <a:lnTo>
                  <a:pt x="2058638" y="440912"/>
                </a:lnTo>
                <a:lnTo>
                  <a:pt x="1873853" y="778097"/>
                </a:lnTo>
                <a:lnTo>
                  <a:pt x="1305116" y="778097"/>
                </a:lnTo>
                <a:lnTo>
                  <a:pt x="1102233" y="431387"/>
                </a:lnTo>
                <a:lnTo>
                  <a:pt x="739426" y="431387"/>
                </a:lnTo>
                <a:lnTo>
                  <a:pt x="421196" y="995077"/>
                </a:lnTo>
                <a:lnTo>
                  <a:pt x="428435" y="1339787"/>
                </a:lnTo>
                <a:lnTo>
                  <a:pt x="598075" y="1584389"/>
                </a:lnTo>
                <a:lnTo>
                  <a:pt x="720471" y="1584389"/>
                </a:lnTo>
                <a:lnTo>
                  <a:pt x="823817" y="1449229"/>
                </a:lnTo>
                <a:lnTo>
                  <a:pt x="1788795" y="1449229"/>
                </a:lnTo>
                <a:lnTo>
                  <a:pt x="2030825" y="1890046"/>
                </a:lnTo>
                <a:lnTo>
                  <a:pt x="2030825" y="2294763"/>
                </a:lnTo>
                <a:lnTo>
                  <a:pt x="2171414" y="2536222"/>
                </a:lnTo>
                <a:lnTo>
                  <a:pt x="2171414" y="2782348"/>
                </a:lnTo>
                <a:lnTo>
                  <a:pt x="2424017" y="3204782"/>
                </a:lnTo>
                <a:lnTo>
                  <a:pt x="2424017" y="3455861"/>
                </a:lnTo>
                <a:lnTo>
                  <a:pt x="2493740" y="3546824"/>
                </a:lnTo>
                <a:lnTo>
                  <a:pt x="2523554" y="3497485"/>
                </a:lnTo>
                <a:lnTo>
                  <a:pt x="2523554" y="3311366"/>
                </a:lnTo>
                <a:lnTo>
                  <a:pt x="2882741" y="2736723"/>
                </a:lnTo>
                <a:lnTo>
                  <a:pt x="2885694" y="2291906"/>
                </a:lnTo>
                <a:lnTo>
                  <a:pt x="3159919" y="1831372"/>
                </a:lnTo>
                <a:lnTo>
                  <a:pt x="3448907" y="1830324"/>
                </a:lnTo>
                <a:lnTo>
                  <a:pt x="3463671" y="1805464"/>
                </a:lnTo>
                <a:lnTo>
                  <a:pt x="3139345" y="1804226"/>
                </a:lnTo>
                <a:lnTo>
                  <a:pt x="2795969" y="1241489"/>
                </a:lnTo>
                <a:lnTo>
                  <a:pt x="2806637" y="959072"/>
                </a:lnTo>
                <a:lnTo>
                  <a:pt x="2635949" y="708470"/>
                </a:lnTo>
                <a:lnTo>
                  <a:pt x="2205990" y="706184"/>
                </a:lnTo>
                <a:lnTo>
                  <a:pt x="2018062" y="1035939"/>
                </a:lnTo>
                <a:lnTo>
                  <a:pt x="1136618" y="1035939"/>
                </a:lnTo>
                <a:lnTo>
                  <a:pt x="966883" y="719423"/>
                </a:lnTo>
                <a:lnTo>
                  <a:pt x="906685" y="719423"/>
                </a:lnTo>
                <a:lnTo>
                  <a:pt x="707708" y="1096709"/>
                </a:lnTo>
                <a:lnTo>
                  <a:pt x="708946" y="1153954"/>
                </a:lnTo>
                <a:lnTo>
                  <a:pt x="2203990" y="1154811"/>
                </a:lnTo>
                <a:lnTo>
                  <a:pt x="2355342" y="858298"/>
                </a:lnTo>
                <a:lnTo>
                  <a:pt x="2559749" y="858298"/>
                </a:lnTo>
                <a:lnTo>
                  <a:pt x="2688812" y="1028414"/>
                </a:lnTo>
                <a:lnTo>
                  <a:pt x="2688812" y="1353217"/>
                </a:lnTo>
                <a:lnTo>
                  <a:pt x="3007519" y="1887664"/>
                </a:lnTo>
                <a:lnTo>
                  <a:pt x="2767394" y="2247900"/>
                </a:lnTo>
                <a:lnTo>
                  <a:pt x="2761583" y="2718149"/>
                </a:lnTo>
                <a:lnTo>
                  <a:pt x="2500313" y="3111532"/>
                </a:lnTo>
                <a:lnTo>
                  <a:pt x="2262378" y="2712149"/>
                </a:lnTo>
                <a:lnTo>
                  <a:pt x="2262378" y="2427446"/>
                </a:lnTo>
                <a:lnTo>
                  <a:pt x="2158460" y="2257139"/>
                </a:lnTo>
                <a:lnTo>
                  <a:pt x="2158460" y="1856708"/>
                </a:lnTo>
                <a:lnTo>
                  <a:pt x="1913192" y="1441323"/>
                </a:lnTo>
                <a:lnTo>
                  <a:pt x="2415635" y="1441323"/>
                </a:lnTo>
                <a:lnTo>
                  <a:pt x="2683859" y="1863090"/>
                </a:lnTo>
                <a:lnTo>
                  <a:pt x="2526887" y="2100072"/>
                </a:lnTo>
                <a:lnTo>
                  <a:pt x="2526887" y="2145125"/>
                </a:lnTo>
                <a:lnTo>
                  <a:pt x="2364962" y="2145125"/>
                </a:lnTo>
                <a:lnTo>
                  <a:pt x="2364962" y="2051399"/>
                </a:lnTo>
                <a:lnTo>
                  <a:pt x="2490788" y="1861280"/>
                </a:lnTo>
                <a:lnTo>
                  <a:pt x="2326672" y="1603248"/>
                </a:lnTo>
                <a:lnTo>
                  <a:pt x="2196846" y="1603248"/>
                </a:lnTo>
                <a:lnTo>
                  <a:pt x="2320385" y="1812417"/>
                </a:lnTo>
                <a:lnTo>
                  <a:pt x="2320385" y="2211705"/>
                </a:lnTo>
                <a:lnTo>
                  <a:pt x="2424303" y="2381917"/>
                </a:lnTo>
                <a:lnTo>
                  <a:pt x="2424303" y="2667572"/>
                </a:lnTo>
                <a:lnTo>
                  <a:pt x="2507742" y="2807684"/>
                </a:lnTo>
                <a:lnTo>
                  <a:pt x="2600325" y="2668334"/>
                </a:lnTo>
                <a:lnTo>
                  <a:pt x="2606040" y="2197894"/>
                </a:lnTo>
                <a:lnTo>
                  <a:pt x="2816066" y="1882902"/>
                </a:lnTo>
                <a:lnTo>
                  <a:pt x="2526887" y="1397794"/>
                </a:lnTo>
                <a:lnTo>
                  <a:pt x="2526887" y="1082897"/>
                </a:lnTo>
                <a:lnTo>
                  <a:pt x="2479358" y="1020223"/>
                </a:lnTo>
                <a:lnTo>
                  <a:pt x="2454497" y="1020223"/>
                </a:lnTo>
                <a:lnTo>
                  <a:pt x="2303145" y="1316831"/>
                </a:lnTo>
                <a:lnTo>
                  <a:pt x="759143" y="1315974"/>
                </a:lnTo>
                <a:lnTo>
                  <a:pt x="686562" y="1377315"/>
                </a:lnTo>
                <a:lnTo>
                  <a:pt x="602647" y="1378744"/>
                </a:lnTo>
                <a:lnTo>
                  <a:pt x="550259" y="1309402"/>
                </a:lnTo>
                <a:lnTo>
                  <a:pt x="545021" y="1058228"/>
                </a:lnTo>
                <a:lnTo>
                  <a:pt x="808958" y="557498"/>
                </a:lnTo>
                <a:lnTo>
                  <a:pt x="1063752" y="557498"/>
                </a:lnTo>
                <a:lnTo>
                  <a:pt x="1233583" y="874014"/>
                </a:lnTo>
                <a:lnTo>
                  <a:pt x="1923955" y="874014"/>
                </a:lnTo>
                <a:lnTo>
                  <a:pt x="2112264" y="543687"/>
                </a:lnTo>
                <a:lnTo>
                  <a:pt x="2721864" y="547021"/>
                </a:lnTo>
                <a:lnTo>
                  <a:pt x="2970371" y="911924"/>
                </a:lnTo>
                <a:lnTo>
                  <a:pt x="2959608" y="1198721"/>
                </a:lnTo>
                <a:lnTo>
                  <a:pt x="3230404" y="1642682"/>
                </a:lnTo>
                <a:lnTo>
                  <a:pt x="3747326" y="1644587"/>
                </a:lnTo>
                <a:lnTo>
                  <a:pt x="3541300" y="1991868"/>
                </a:lnTo>
                <a:lnTo>
                  <a:pt x="3252216" y="1993011"/>
                </a:lnTo>
                <a:lnTo>
                  <a:pt x="3047333" y="2336959"/>
                </a:lnTo>
                <a:lnTo>
                  <a:pt x="3044381" y="2783681"/>
                </a:lnTo>
                <a:lnTo>
                  <a:pt x="2685479" y="3357848"/>
                </a:lnTo>
                <a:lnTo>
                  <a:pt x="2685479" y="3542633"/>
                </a:lnTo>
                <a:lnTo>
                  <a:pt x="2572417" y="3729704"/>
                </a:lnTo>
                <a:lnTo>
                  <a:pt x="2429923" y="3729704"/>
                </a:lnTo>
                <a:lnTo>
                  <a:pt x="2262092" y="3510820"/>
                </a:lnTo>
                <a:lnTo>
                  <a:pt x="2262092" y="3249454"/>
                </a:lnTo>
                <a:lnTo>
                  <a:pt x="2009489" y="2827115"/>
                </a:lnTo>
                <a:lnTo>
                  <a:pt x="2009489" y="2579941"/>
                </a:lnTo>
                <a:lnTo>
                  <a:pt x="1868900" y="2338483"/>
                </a:lnTo>
                <a:lnTo>
                  <a:pt x="1868900" y="1931575"/>
                </a:lnTo>
                <a:lnTo>
                  <a:pt x="1692974" y="1611154"/>
                </a:lnTo>
                <a:lnTo>
                  <a:pt x="903827" y="1611154"/>
                </a:lnTo>
                <a:lnTo>
                  <a:pt x="800481" y="1746314"/>
                </a:lnTo>
                <a:lnTo>
                  <a:pt x="513398" y="1746314"/>
                </a:lnTo>
                <a:lnTo>
                  <a:pt x="267653" y="1391984"/>
                </a:lnTo>
                <a:lnTo>
                  <a:pt x="258413" y="954119"/>
                </a:lnTo>
                <a:lnTo>
                  <a:pt x="644843" y="269462"/>
                </a:lnTo>
                <a:lnTo>
                  <a:pt x="1195102" y="269462"/>
                </a:lnTo>
                <a:lnTo>
                  <a:pt x="1397984" y="616172"/>
                </a:lnTo>
                <a:lnTo>
                  <a:pt x="1777937" y="616172"/>
                </a:lnTo>
                <a:lnTo>
                  <a:pt x="1962722" y="278987"/>
                </a:lnTo>
                <a:lnTo>
                  <a:pt x="2831402" y="278987"/>
                </a:lnTo>
                <a:lnTo>
                  <a:pt x="3219545" y="815435"/>
                </a:lnTo>
                <a:lnTo>
                  <a:pt x="3219069" y="1140905"/>
                </a:lnTo>
                <a:lnTo>
                  <a:pt x="3378041" y="1414082"/>
                </a:lnTo>
                <a:lnTo>
                  <a:pt x="4152138" y="1414082"/>
                </a:lnTo>
                <a:lnTo>
                  <a:pt x="3689318" y="2223326"/>
                </a:lnTo>
                <a:lnTo>
                  <a:pt x="3462719" y="2220944"/>
                </a:lnTo>
                <a:lnTo>
                  <a:pt x="3312128" y="2458498"/>
                </a:lnTo>
                <a:lnTo>
                  <a:pt x="3312128" y="2864263"/>
                </a:lnTo>
                <a:lnTo>
                  <a:pt x="2926175" y="3469386"/>
                </a:lnTo>
                <a:lnTo>
                  <a:pt x="2926175" y="3685604"/>
                </a:lnTo>
                <a:lnTo>
                  <a:pt x="2718340" y="4031171"/>
                </a:lnTo>
                <a:close/>
              </a:path>
            </a:pathLst>
          </a:custGeom>
          <a:solidFill>
            <a:srgbClr val="7DBA0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79855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  <p:pic>
        <p:nvPicPr>
          <p:cNvPr id="10" name="Picture 9" descr="A green train on a track&#10;&#10;Description automatically generated">
            <a:extLst>
              <a:ext uri="{FF2B5EF4-FFF2-40B4-BE49-F238E27FC236}">
                <a16:creationId xmlns:a16="http://schemas.microsoft.com/office/drawing/2014/main" id="{632EF9B6-B7F2-5B68-A22D-54C283B3FF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76105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A49168BD-AB6E-E377-7CEA-0E7694373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8551" y="1078100"/>
            <a:ext cx="5071263" cy="258532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4970" y="395211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2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92116970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 descr="Colourful cargo containers stacked with a worker standing">
            <a:extLst>
              <a:ext uri="{FF2B5EF4-FFF2-40B4-BE49-F238E27FC236}">
                <a16:creationId xmlns:a16="http://schemas.microsoft.com/office/drawing/2014/main" id="{77320EED-BBCB-8B40-2FBE-A4CA2CA7D0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13381800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Train tracks with train cars on each side&#10;&#10;Description automatically generated">
            <a:extLst>
              <a:ext uri="{FF2B5EF4-FFF2-40B4-BE49-F238E27FC236}">
                <a16:creationId xmlns:a16="http://schemas.microsoft.com/office/drawing/2014/main" id="{2ED9AAEA-3731-AD3D-0F78-72016945F3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271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4614" y="1239087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85615" y="3772254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65446571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yellow pipes on a building&#10;&#10;Description automatically generated with medium confidence">
            <a:extLst>
              <a:ext uri="{FF2B5EF4-FFF2-40B4-BE49-F238E27FC236}">
                <a16:creationId xmlns:a16="http://schemas.microsoft.com/office/drawing/2014/main" id="{9EB74ED6-8907-4B51-479C-FDD3F66E7F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75867353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 descr="Top view of a wooden desk with a white keyboard, drawing plan and drawing compass, and pens.">
            <a:extLst>
              <a:ext uri="{FF2B5EF4-FFF2-40B4-BE49-F238E27FC236}">
                <a16:creationId xmlns:a16="http://schemas.microsoft.com/office/drawing/2014/main" id="{A49168BD-AB6E-E377-7CEA-0E7694373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0" y="1078100"/>
            <a:ext cx="7412385" cy="184665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0" y="3042909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01508814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755" y="4945338"/>
            <a:ext cx="6543458" cy="615553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DF6E4E97-1E5E-6DDC-51DB-51A4B672C7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8757" y="5572294"/>
            <a:ext cx="5032147" cy="484025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3734539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3994C55-28DA-03C2-35BC-75F5D854F08B}"/>
              </a:ext>
            </a:extLst>
          </p:cNvPr>
          <p:cNvSpPr/>
          <p:nvPr userDrawn="1"/>
        </p:nvSpPr>
        <p:spPr>
          <a:xfrm>
            <a:off x="0" y="0"/>
            <a:ext cx="12192001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E6505-1432-E7D8-FDE1-5E4383D36C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82543" y="-1"/>
            <a:ext cx="4909457" cy="6858257"/>
          </a:xfrm>
          <a:custGeom>
            <a:avLst/>
            <a:gdLst>
              <a:gd name="connsiteX0" fmla="*/ 0 w 4401300"/>
              <a:gd name="connsiteY0" fmla="*/ 0 h 6148388"/>
              <a:gd name="connsiteX1" fmla="*/ 4401300 w 4401300"/>
              <a:gd name="connsiteY1" fmla="*/ 0 h 6148388"/>
              <a:gd name="connsiteX2" fmla="*/ 4401300 w 4401300"/>
              <a:gd name="connsiteY2" fmla="*/ 6148388 h 6148388"/>
              <a:gd name="connsiteX3" fmla="*/ 3799566 w 4401300"/>
              <a:gd name="connsiteY3" fmla="*/ 6148388 h 614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01300" h="6148388">
                <a:moveTo>
                  <a:pt x="0" y="0"/>
                </a:moveTo>
                <a:lnTo>
                  <a:pt x="4401300" y="0"/>
                </a:lnTo>
                <a:lnTo>
                  <a:pt x="4401300" y="6148388"/>
                </a:lnTo>
                <a:lnTo>
                  <a:pt x="3799566" y="6148388"/>
                </a:lnTo>
                <a:close/>
              </a:path>
            </a:pathLst>
          </a:cu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615020BA-0B93-180E-3093-EAC3BCC73B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4" y="517638"/>
            <a:ext cx="5889053" cy="410136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8CE118E7-1BAE-2BED-BA49-7E01CC506DEF}"/>
              </a:ext>
            </a:extLst>
          </p:cNvPr>
          <p:cNvSpPr/>
          <p:nvPr userDrawn="1"/>
        </p:nvSpPr>
        <p:spPr>
          <a:xfrm>
            <a:off x="11521842" y="6474757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2C509C7-F64D-8D3C-E43B-BAD58331BD3D}"/>
              </a:ext>
            </a:extLst>
          </p:cNvPr>
          <p:cNvSpPr/>
          <p:nvPr userDrawn="1"/>
        </p:nvSpPr>
        <p:spPr>
          <a:xfrm>
            <a:off x="11588593" y="65348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 dirty="0">
              <a:solidFill>
                <a:schemeClr val="bg1"/>
              </a:solidFill>
              <a:latin typeface="Tahoma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9A9D43-FF02-9C81-1CFC-D9B244C575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152400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6" name="Graphic 64">
            <a:extLst>
              <a:ext uri="{FF2B5EF4-FFF2-40B4-BE49-F238E27FC236}">
                <a16:creationId xmlns:a16="http://schemas.microsoft.com/office/drawing/2014/main" id="{410252B1-98B5-8714-70E8-11601AFBFE16}"/>
              </a:ext>
            </a:extLst>
          </p:cNvPr>
          <p:cNvSpPr/>
          <p:nvPr userDrawn="1"/>
        </p:nvSpPr>
        <p:spPr>
          <a:xfrm>
            <a:off x="209511" y="923680"/>
            <a:ext cx="10009519" cy="1141126"/>
          </a:xfrm>
          <a:custGeom>
            <a:avLst/>
            <a:gdLst>
              <a:gd name="connsiteX0" fmla="*/ 7482459 w 7482459"/>
              <a:gd name="connsiteY0" fmla="*/ 0 h 963549"/>
              <a:gd name="connsiteX1" fmla="*/ 439579 w 7482459"/>
              <a:gd name="connsiteY1" fmla="*/ 0 h 963549"/>
              <a:gd name="connsiteX2" fmla="*/ 399955 w 7482459"/>
              <a:gd name="connsiteY2" fmla="*/ 72009 h 963549"/>
              <a:gd name="connsiteX3" fmla="*/ 351377 w 7482459"/>
              <a:gd name="connsiteY3" fmla="*/ 72390 h 963549"/>
              <a:gd name="connsiteX4" fmla="*/ 307467 w 7482459"/>
              <a:gd name="connsiteY4" fmla="*/ 0 h 963549"/>
              <a:gd name="connsiteX5" fmla="*/ 118967 w 7482459"/>
              <a:gd name="connsiteY5" fmla="*/ 0 h 963549"/>
              <a:gd name="connsiteX6" fmla="*/ 0 w 7482459"/>
              <a:gd name="connsiteY6" fmla="*/ 199739 h 963549"/>
              <a:gd name="connsiteX7" fmla="*/ 0 w 7482459"/>
              <a:gd name="connsiteY7" fmla="*/ 342138 h 963549"/>
              <a:gd name="connsiteX8" fmla="*/ 78296 w 7482459"/>
              <a:gd name="connsiteY8" fmla="*/ 463772 h 963549"/>
              <a:gd name="connsiteX9" fmla="*/ 204216 w 7482459"/>
              <a:gd name="connsiteY9" fmla="*/ 463772 h 963549"/>
              <a:gd name="connsiteX10" fmla="*/ 219647 w 7482459"/>
              <a:gd name="connsiteY10" fmla="*/ 437007 h 963549"/>
              <a:gd name="connsiteX11" fmla="*/ 381000 w 7482459"/>
              <a:gd name="connsiteY11" fmla="*/ 437007 h 963549"/>
              <a:gd name="connsiteX12" fmla="*/ 399288 w 7482459"/>
              <a:gd name="connsiteY12" fmla="*/ 469773 h 963549"/>
              <a:gd name="connsiteX13" fmla="*/ 399288 w 7482459"/>
              <a:gd name="connsiteY13" fmla="*/ 568071 h 963549"/>
              <a:gd name="connsiteX14" fmla="*/ 434245 w 7482459"/>
              <a:gd name="connsiteY14" fmla="*/ 628841 h 963549"/>
              <a:gd name="connsiteX15" fmla="*/ 434054 w 7482459"/>
              <a:gd name="connsiteY15" fmla="*/ 693325 h 963549"/>
              <a:gd name="connsiteX16" fmla="*/ 492728 w 7482459"/>
              <a:gd name="connsiteY16" fmla="*/ 800005 h 963549"/>
              <a:gd name="connsiteX17" fmla="*/ 492728 w 7482459"/>
              <a:gd name="connsiteY17" fmla="*/ 884873 h 963549"/>
              <a:gd name="connsiteX18" fmla="*/ 559118 w 7482459"/>
              <a:gd name="connsiteY18" fmla="*/ 962978 h 963549"/>
              <a:gd name="connsiteX19" fmla="*/ 645414 w 7482459"/>
              <a:gd name="connsiteY19" fmla="*/ 963549 h 963549"/>
              <a:gd name="connsiteX20" fmla="*/ 688372 w 7482459"/>
              <a:gd name="connsiteY20" fmla="*/ 892112 h 963549"/>
              <a:gd name="connsiteX21" fmla="*/ 688372 w 7482459"/>
              <a:gd name="connsiteY21" fmla="*/ 837914 h 963549"/>
              <a:gd name="connsiteX22" fmla="*/ 784479 w 7482459"/>
              <a:gd name="connsiteY22" fmla="*/ 687229 h 963549"/>
              <a:gd name="connsiteX23" fmla="*/ 784479 w 7482459"/>
              <a:gd name="connsiteY23" fmla="*/ 586169 h 963549"/>
              <a:gd name="connsiteX24" fmla="*/ 831152 w 7482459"/>
              <a:gd name="connsiteY24" fmla="*/ 512636 h 963549"/>
              <a:gd name="connsiteX25" fmla="*/ 886968 w 7482459"/>
              <a:gd name="connsiteY25" fmla="*/ 513207 h 963549"/>
              <a:gd name="connsiteX26" fmla="*/ 979075 w 7482459"/>
              <a:gd name="connsiteY26" fmla="*/ 352139 h 963549"/>
              <a:gd name="connsiteX27" fmla="*/ 809530 w 7482459"/>
              <a:gd name="connsiteY27" fmla="*/ 352139 h 963549"/>
              <a:gd name="connsiteX28" fmla="*/ 761333 w 7482459"/>
              <a:gd name="connsiteY28" fmla="*/ 269367 h 963549"/>
              <a:gd name="connsiteX29" fmla="*/ 761429 w 7482459"/>
              <a:gd name="connsiteY29" fmla="*/ 189357 h 963549"/>
              <a:gd name="connsiteX30" fmla="*/ 681419 w 7482459"/>
              <a:gd name="connsiteY30" fmla="*/ 77438 h 963549"/>
              <a:gd name="connsiteX31" fmla="*/ 655511 w 7482459"/>
              <a:gd name="connsiteY31" fmla="*/ 77438 h 963549"/>
              <a:gd name="connsiteX32" fmla="*/ 487299 w 7482459"/>
              <a:gd name="connsiteY32" fmla="*/ 77438 h 963549"/>
              <a:gd name="connsiteX33" fmla="*/ 443293 w 7482459"/>
              <a:gd name="connsiteY33" fmla="*/ 153448 h 963549"/>
              <a:gd name="connsiteX34" fmla="*/ 316421 w 7482459"/>
              <a:gd name="connsiteY34" fmla="*/ 153448 h 963549"/>
              <a:gd name="connsiteX35" fmla="*/ 265843 w 7482459"/>
              <a:gd name="connsiteY35" fmla="*/ 67056 h 963549"/>
              <a:gd name="connsiteX36" fmla="*/ 159639 w 7482459"/>
              <a:gd name="connsiteY36" fmla="*/ 67056 h 963549"/>
              <a:gd name="connsiteX37" fmla="*/ 71914 w 7482459"/>
              <a:gd name="connsiteY37" fmla="*/ 225457 h 963549"/>
              <a:gd name="connsiteX38" fmla="*/ 71914 w 7482459"/>
              <a:gd name="connsiteY38" fmla="*/ 311753 h 963549"/>
              <a:gd name="connsiteX39" fmla="*/ 121825 w 7482459"/>
              <a:gd name="connsiteY39" fmla="*/ 393192 h 963549"/>
              <a:gd name="connsiteX40" fmla="*/ 160687 w 7482459"/>
              <a:gd name="connsiteY40" fmla="*/ 393192 h 963549"/>
              <a:gd name="connsiteX41" fmla="*/ 173260 w 7482459"/>
              <a:gd name="connsiteY41" fmla="*/ 370332 h 963549"/>
              <a:gd name="connsiteX42" fmla="*/ 416433 w 7482459"/>
              <a:gd name="connsiteY42" fmla="*/ 370332 h 963549"/>
              <a:gd name="connsiteX43" fmla="*/ 465392 w 7482459"/>
              <a:gd name="connsiteY43" fmla="*/ 455676 h 963549"/>
              <a:gd name="connsiteX44" fmla="*/ 465392 w 7482459"/>
              <a:gd name="connsiteY44" fmla="*/ 556736 h 963549"/>
              <a:gd name="connsiteX45" fmla="*/ 500443 w 7482459"/>
              <a:gd name="connsiteY45" fmla="*/ 616839 h 963549"/>
              <a:gd name="connsiteX46" fmla="*/ 500443 w 7482459"/>
              <a:gd name="connsiteY46" fmla="*/ 678275 h 963549"/>
              <a:gd name="connsiteX47" fmla="*/ 563309 w 7482459"/>
              <a:gd name="connsiteY47" fmla="*/ 783527 h 963549"/>
              <a:gd name="connsiteX48" fmla="*/ 563309 w 7482459"/>
              <a:gd name="connsiteY48" fmla="*/ 847344 h 963549"/>
              <a:gd name="connsiteX49" fmla="*/ 594932 w 7482459"/>
              <a:gd name="connsiteY49" fmla="*/ 888492 h 963549"/>
              <a:gd name="connsiteX50" fmla="*/ 609124 w 7482459"/>
              <a:gd name="connsiteY50" fmla="*/ 888492 h 963549"/>
              <a:gd name="connsiteX51" fmla="*/ 628460 w 7482459"/>
              <a:gd name="connsiteY51" fmla="*/ 856488 h 963549"/>
              <a:gd name="connsiteX52" fmla="*/ 628460 w 7482459"/>
              <a:gd name="connsiteY52" fmla="*/ 810292 h 963549"/>
              <a:gd name="connsiteX53" fmla="*/ 717899 w 7482459"/>
              <a:gd name="connsiteY53" fmla="*/ 667226 h 963549"/>
              <a:gd name="connsiteX54" fmla="*/ 718566 w 7482459"/>
              <a:gd name="connsiteY54" fmla="*/ 556165 h 963549"/>
              <a:gd name="connsiteX55" fmla="*/ 790956 w 7482459"/>
              <a:gd name="connsiteY55" fmla="*/ 448056 h 963549"/>
              <a:gd name="connsiteX56" fmla="*/ 843725 w 7482459"/>
              <a:gd name="connsiteY56" fmla="*/ 447770 h 963549"/>
              <a:gd name="connsiteX57" fmla="*/ 861060 w 7482459"/>
              <a:gd name="connsiteY57" fmla="*/ 419957 h 963549"/>
              <a:gd name="connsiteX58" fmla="*/ 767239 w 7482459"/>
              <a:gd name="connsiteY58" fmla="*/ 419957 h 963549"/>
              <a:gd name="connsiteX59" fmla="*/ 691229 w 7482459"/>
              <a:gd name="connsiteY59" fmla="*/ 291370 h 963549"/>
              <a:gd name="connsiteX60" fmla="*/ 689229 w 7482459"/>
              <a:gd name="connsiteY60" fmla="*/ 210407 h 963549"/>
              <a:gd name="connsiteX61" fmla="*/ 640271 w 7482459"/>
              <a:gd name="connsiteY61" fmla="*/ 144399 h 963549"/>
              <a:gd name="connsiteX62" fmla="*/ 532352 w 7482459"/>
              <a:gd name="connsiteY62" fmla="*/ 143447 h 963549"/>
              <a:gd name="connsiteX63" fmla="*/ 483108 w 7482459"/>
              <a:gd name="connsiteY63" fmla="*/ 228410 h 963549"/>
              <a:gd name="connsiteX64" fmla="*/ 271082 w 7482459"/>
              <a:gd name="connsiteY64" fmla="*/ 228410 h 963549"/>
              <a:gd name="connsiteX65" fmla="*/ 227743 w 7482459"/>
              <a:gd name="connsiteY65" fmla="*/ 156782 h 963549"/>
              <a:gd name="connsiteX66" fmla="*/ 200216 w 7482459"/>
              <a:gd name="connsiteY66" fmla="*/ 156782 h 963549"/>
              <a:gd name="connsiteX67" fmla="*/ 152019 w 7482459"/>
              <a:gd name="connsiteY67" fmla="*/ 248126 h 963549"/>
              <a:gd name="connsiteX68" fmla="*/ 150781 w 7482459"/>
              <a:gd name="connsiteY68" fmla="*/ 298990 h 963549"/>
              <a:gd name="connsiteX69" fmla="*/ 153638 w 7482459"/>
              <a:gd name="connsiteY69" fmla="*/ 303562 h 963549"/>
              <a:gd name="connsiteX70" fmla="*/ 157353 w 7482459"/>
              <a:gd name="connsiteY70" fmla="*/ 303467 h 963549"/>
              <a:gd name="connsiteX71" fmla="*/ 161068 w 7482459"/>
              <a:gd name="connsiteY71" fmla="*/ 298990 h 963549"/>
              <a:gd name="connsiteX72" fmla="*/ 525304 w 7482459"/>
              <a:gd name="connsiteY72" fmla="*/ 299180 h 963549"/>
              <a:gd name="connsiteX73" fmla="*/ 578739 w 7482459"/>
              <a:gd name="connsiteY73" fmla="*/ 213741 h 963549"/>
              <a:gd name="connsiteX74" fmla="*/ 607314 w 7482459"/>
              <a:gd name="connsiteY74" fmla="*/ 213741 h 963549"/>
              <a:gd name="connsiteX75" fmla="*/ 629317 w 7482459"/>
              <a:gd name="connsiteY75" fmla="*/ 242697 h 963549"/>
              <a:gd name="connsiteX76" fmla="*/ 629317 w 7482459"/>
              <a:gd name="connsiteY76" fmla="*/ 322326 h 963549"/>
              <a:gd name="connsiteX77" fmla="*/ 704945 w 7482459"/>
              <a:gd name="connsiteY77" fmla="*/ 449294 h 963549"/>
              <a:gd name="connsiteX78" fmla="*/ 648938 w 7482459"/>
              <a:gd name="connsiteY78" fmla="*/ 533400 h 963549"/>
              <a:gd name="connsiteX79" fmla="*/ 647510 w 7482459"/>
              <a:gd name="connsiteY79" fmla="*/ 650558 h 963549"/>
              <a:gd name="connsiteX80" fmla="*/ 603409 w 7482459"/>
              <a:gd name="connsiteY80" fmla="*/ 716852 h 963549"/>
              <a:gd name="connsiteX81" fmla="*/ 563404 w 7482459"/>
              <a:gd name="connsiteY81" fmla="*/ 649700 h 963549"/>
              <a:gd name="connsiteX82" fmla="*/ 563404 w 7482459"/>
              <a:gd name="connsiteY82" fmla="*/ 578644 h 963549"/>
              <a:gd name="connsiteX83" fmla="*/ 537496 w 7482459"/>
              <a:gd name="connsiteY83" fmla="*/ 536258 h 963549"/>
              <a:gd name="connsiteX84" fmla="*/ 537496 w 7482459"/>
              <a:gd name="connsiteY84" fmla="*/ 436721 h 963549"/>
              <a:gd name="connsiteX85" fmla="*/ 498824 w 7482459"/>
              <a:gd name="connsiteY85" fmla="*/ 368999 h 963549"/>
              <a:gd name="connsiteX86" fmla="*/ 581120 w 7482459"/>
              <a:gd name="connsiteY86" fmla="*/ 368999 h 963549"/>
              <a:gd name="connsiteX87" fmla="*/ 627698 w 7482459"/>
              <a:gd name="connsiteY87" fmla="*/ 443579 h 963549"/>
              <a:gd name="connsiteX88" fmla="*/ 592550 w 7482459"/>
              <a:gd name="connsiteY88" fmla="*/ 496729 h 963549"/>
              <a:gd name="connsiteX0" fmla="*/ 8451880 w 8451880"/>
              <a:gd name="connsiteY0" fmla="*/ 0 h 963549"/>
              <a:gd name="connsiteX1" fmla="*/ 439579 w 8451880"/>
              <a:gd name="connsiteY1" fmla="*/ 0 h 963549"/>
              <a:gd name="connsiteX2" fmla="*/ 399955 w 8451880"/>
              <a:gd name="connsiteY2" fmla="*/ 72009 h 963549"/>
              <a:gd name="connsiteX3" fmla="*/ 351377 w 8451880"/>
              <a:gd name="connsiteY3" fmla="*/ 72390 h 963549"/>
              <a:gd name="connsiteX4" fmla="*/ 307467 w 8451880"/>
              <a:gd name="connsiteY4" fmla="*/ 0 h 963549"/>
              <a:gd name="connsiteX5" fmla="*/ 118967 w 8451880"/>
              <a:gd name="connsiteY5" fmla="*/ 0 h 963549"/>
              <a:gd name="connsiteX6" fmla="*/ 0 w 8451880"/>
              <a:gd name="connsiteY6" fmla="*/ 199739 h 963549"/>
              <a:gd name="connsiteX7" fmla="*/ 0 w 8451880"/>
              <a:gd name="connsiteY7" fmla="*/ 342138 h 963549"/>
              <a:gd name="connsiteX8" fmla="*/ 78296 w 8451880"/>
              <a:gd name="connsiteY8" fmla="*/ 463772 h 963549"/>
              <a:gd name="connsiteX9" fmla="*/ 204216 w 8451880"/>
              <a:gd name="connsiteY9" fmla="*/ 463772 h 963549"/>
              <a:gd name="connsiteX10" fmla="*/ 219647 w 8451880"/>
              <a:gd name="connsiteY10" fmla="*/ 437007 h 963549"/>
              <a:gd name="connsiteX11" fmla="*/ 381000 w 8451880"/>
              <a:gd name="connsiteY11" fmla="*/ 437007 h 963549"/>
              <a:gd name="connsiteX12" fmla="*/ 399288 w 8451880"/>
              <a:gd name="connsiteY12" fmla="*/ 469773 h 963549"/>
              <a:gd name="connsiteX13" fmla="*/ 399288 w 8451880"/>
              <a:gd name="connsiteY13" fmla="*/ 568071 h 963549"/>
              <a:gd name="connsiteX14" fmla="*/ 434245 w 8451880"/>
              <a:gd name="connsiteY14" fmla="*/ 628841 h 963549"/>
              <a:gd name="connsiteX15" fmla="*/ 434054 w 8451880"/>
              <a:gd name="connsiteY15" fmla="*/ 693325 h 963549"/>
              <a:gd name="connsiteX16" fmla="*/ 492728 w 8451880"/>
              <a:gd name="connsiteY16" fmla="*/ 800005 h 963549"/>
              <a:gd name="connsiteX17" fmla="*/ 492728 w 8451880"/>
              <a:gd name="connsiteY17" fmla="*/ 884873 h 963549"/>
              <a:gd name="connsiteX18" fmla="*/ 559118 w 8451880"/>
              <a:gd name="connsiteY18" fmla="*/ 962978 h 963549"/>
              <a:gd name="connsiteX19" fmla="*/ 645414 w 8451880"/>
              <a:gd name="connsiteY19" fmla="*/ 963549 h 963549"/>
              <a:gd name="connsiteX20" fmla="*/ 688372 w 8451880"/>
              <a:gd name="connsiteY20" fmla="*/ 892112 h 963549"/>
              <a:gd name="connsiteX21" fmla="*/ 688372 w 8451880"/>
              <a:gd name="connsiteY21" fmla="*/ 837914 h 963549"/>
              <a:gd name="connsiteX22" fmla="*/ 784479 w 8451880"/>
              <a:gd name="connsiteY22" fmla="*/ 687229 h 963549"/>
              <a:gd name="connsiteX23" fmla="*/ 784479 w 8451880"/>
              <a:gd name="connsiteY23" fmla="*/ 586169 h 963549"/>
              <a:gd name="connsiteX24" fmla="*/ 831152 w 8451880"/>
              <a:gd name="connsiteY24" fmla="*/ 512636 h 963549"/>
              <a:gd name="connsiteX25" fmla="*/ 886968 w 8451880"/>
              <a:gd name="connsiteY25" fmla="*/ 513207 h 963549"/>
              <a:gd name="connsiteX26" fmla="*/ 979075 w 8451880"/>
              <a:gd name="connsiteY26" fmla="*/ 352139 h 963549"/>
              <a:gd name="connsiteX27" fmla="*/ 809530 w 8451880"/>
              <a:gd name="connsiteY27" fmla="*/ 352139 h 963549"/>
              <a:gd name="connsiteX28" fmla="*/ 761333 w 8451880"/>
              <a:gd name="connsiteY28" fmla="*/ 269367 h 963549"/>
              <a:gd name="connsiteX29" fmla="*/ 761429 w 8451880"/>
              <a:gd name="connsiteY29" fmla="*/ 189357 h 963549"/>
              <a:gd name="connsiteX30" fmla="*/ 681419 w 8451880"/>
              <a:gd name="connsiteY30" fmla="*/ 77438 h 963549"/>
              <a:gd name="connsiteX31" fmla="*/ 655511 w 8451880"/>
              <a:gd name="connsiteY31" fmla="*/ 77438 h 963549"/>
              <a:gd name="connsiteX32" fmla="*/ 487299 w 8451880"/>
              <a:gd name="connsiteY32" fmla="*/ 77438 h 963549"/>
              <a:gd name="connsiteX33" fmla="*/ 443293 w 8451880"/>
              <a:gd name="connsiteY33" fmla="*/ 153448 h 963549"/>
              <a:gd name="connsiteX34" fmla="*/ 316421 w 8451880"/>
              <a:gd name="connsiteY34" fmla="*/ 153448 h 963549"/>
              <a:gd name="connsiteX35" fmla="*/ 265843 w 8451880"/>
              <a:gd name="connsiteY35" fmla="*/ 67056 h 963549"/>
              <a:gd name="connsiteX36" fmla="*/ 159639 w 8451880"/>
              <a:gd name="connsiteY36" fmla="*/ 67056 h 963549"/>
              <a:gd name="connsiteX37" fmla="*/ 71914 w 8451880"/>
              <a:gd name="connsiteY37" fmla="*/ 225457 h 963549"/>
              <a:gd name="connsiteX38" fmla="*/ 71914 w 8451880"/>
              <a:gd name="connsiteY38" fmla="*/ 311753 h 963549"/>
              <a:gd name="connsiteX39" fmla="*/ 121825 w 8451880"/>
              <a:gd name="connsiteY39" fmla="*/ 393192 h 963549"/>
              <a:gd name="connsiteX40" fmla="*/ 160687 w 8451880"/>
              <a:gd name="connsiteY40" fmla="*/ 393192 h 963549"/>
              <a:gd name="connsiteX41" fmla="*/ 173260 w 8451880"/>
              <a:gd name="connsiteY41" fmla="*/ 370332 h 963549"/>
              <a:gd name="connsiteX42" fmla="*/ 416433 w 8451880"/>
              <a:gd name="connsiteY42" fmla="*/ 370332 h 963549"/>
              <a:gd name="connsiteX43" fmla="*/ 465392 w 8451880"/>
              <a:gd name="connsiteY43" fmla="*/ 455676 h 963549"/>
              <a:gd name="connsiteX44" fmla="*/ 465392 w 8451880"/>
              <a:gd name="connsiteY44" fmla="*/ 556736 h 963549"/>
              <a:gd name="connsiteX45" fmla="*/ 500443 w 8451880"/>
              <a:gd name="connsiteY45" fmla="*/ 616839 h 963549"/>
              <a:gd name="connsiteX46" fmla="*/ 500443 w 8451880"/>
              <a:gd name="connsiteY46" fmla="*/ 678275 h 963549"/>
              <a:gd name="connsiteX47" fmla="*/ 563309 w 8451880"/>
              <a:gd name="connsiteY47" fmla="*/ 783527 h 963549"/>
              <a:gd name="connsiteX48" fmla="*/ 563309 w 8451880"/>
              <a:gd name="connsiteY48" fmla="*/ 847344 h 963549"/>
              <a:gd name="connsiteX49" fmla="*/ 594932 w 8451880"/>
              <a:gd name="connsiteY49" fmla="*/ 888492 h 963549"/>
              <a:gd name="connsiteX50" fmla="*/ 609124 w 8451880"/>
              <a:gd name="connsiteY50" fmla="*/ 888492 h 963549"/>
              <a:gd name="connsiteX51" fmla="*/ 628460 w 8451880"/>
              <a:gd name="connsiteY51" fmla="*/ 856488 h 963549"/>
              <a:gd name="connsiteX52" fmla="*/ 628460 w 8451880"/>
              <a:gd name="connsiteY52" fmla="*/ 810292 h 963549"/>
              <a:gd name="connsiteX53" fmla="*/ 717899 w 8451880"/>
              <a:gd name="connsiteY53" fmla="*/ 667226 h 963549"/>
              <a:gd name="connsiteX54" fmla="*/ 718566 w 8451880"/>
              <a:gd name="connsiteY54" fmla="*/ 556165 h 963549"/>
              <a:gd name="connsiteX55" fmla="*/ 790956 w 8451880"/>
              <a:gd name="connsiteY55" fmla="*/ 448056 h 963549"/>
              <a:gd name="connsiteX56" fmla="*/ 843725 w 8451880"/>
              <a:gd name="connsiteY56" fmla="*/ 447770 h 963549"/>
              <a:gd name="connsiteX57" fmla="*/ 861060 w 8451880"/>
              <a:gd name="connsiteY57" fmla="*/ 419957 h 963549"/>
              <a:gd name="connsiteX58" fmla="*/ 767239 w 8451880"/>
              <a:gd name="connsiteY58" fmla="*/ 419957 h 963549"/>
              <a:gd name="connsiteX59" fmla="*/ 691229 w 8451880"/>
              <a:gd name="connsiteY59" fmla="*/ 291370 h 963549"/>
              <a:gd name="connsiteX60" fmla="*/ 689229 w 8451880"/>
              <a:gd name="connsiteY60" fmla="*/ 210407 h 963549"/>
              <a:gd name="connsiteX61" fmla="*/ 640271 w 8451880"/>
              <a:gd name="connsiteY61" fmla="*/ 144399 h 963549"/>
              <a:gd name="connsiteX62" fmla="*/ 532352 w 8451880"/>
              <a:gd name="connsiteY62" fmla="*/ 143447 h 963549"/>
              <a:gd name="connsiteX63" fmla="*/ 483108 w 8451880"/>
              <a:gd name="connsiteY63" fmla="*/ 228410 h 963549"/>
              <a:gd name="connsiteX64" fmla="*/ 271082 w 8451880"/>
              <a:gd name="connsiteY64" fmla="*/ 228410 h 963549"/>
              <a:gd name="connsiteX65" fmla="*/ 227743 w 8451880"/>
              <a:gd name="connsiteY65" fmla="*/ 156782 h 963549"/>
              <a:gd name="connsiteX66" fmla="*/ 200216 w 8451880"/>
              <a:gd name="connsiteY66" fmla="*/ 156782 h 963549"/>
              <a:gd name="connsiteX67" fmla="*/ 152019 w 8451880"/>
              <a:gd name="connsiteY67" fmla="*/ 248126 h 963549"/>
              <a:gd name="connsiteX68" fmla="*/ 150781 w 8451880"/>
              <a:gd name="connsiteY68" fmla="*/ 298990 h 963549"/>
              <a:gd name="connsiteX69" fmla="*/ 153638 w 8451880"/>
              <a:gd name="connsiteY69" fmla="*/ 303562 h 963549"/>
              <a:gd name="connsiteX70" fmla="*/ 157353 w 8451880"/>
              <a:gd name="connsiteY70" fmla="*/ 303467 h 963549"/>
              <a:gd name="connsiteX71" fmla="*/ 161068 w 8451880"/>
              <a:gd name="connsiteY71" fmla="*/ 298990 h 963549"/>
              <a:gd name="connsiteX72" fmla="*/ 525304 w 8451880"/>
              <a:gd name="connsiteY72" fmla="*/ 299180 h 963549"/>
              <a:gd name="connsiteX73" fmla="*/ 578739 w 8451880"/>
              <a:gd name="connsiteY73" fmla="*/ 213741 h 963549"/>
              <a:gd name="connsiteX74" fmla="*/ 607314 w 8451880"/>
              <a:gd name="connsiteY74" fmla="*/ 213741 h 963549"/>
              <a:gd name="connsiteX75" fmla="*/ 629317 w 8451880"/>
              <a:gd name="connsiteY75" fmla="*/ 242697 h 963549"/>
              <a:gd name="connsiteX76" fmla="*/ 629317 w 8451880"/>
              <a:gd name="connsiteY76" fmla="*/ 322326 h 963549"/>
              <a:gd name="connsiteX77" fmla="*/ 704945 w 8451880"/>
              <a:gd name="connsiteY77" fmla="*/ 449294 h 963549"/>
              <a:gd name="connsiteX78" fmla="*/ 648938 w 8451880"/>
              <a:gd name="connsiteY78" fmla="*/ 533400 h 963549"/>
              <a:gd name="connsiteX79" fmla="*/ 647510 w 8451880"/>
              <a:gd name="connsiteY79" fmla="*/ 650558 h 963549"/>
              <a:gd name="connsiteX80" fmla="*/ 603409 w 8451880"/>
              <a:gd name="connsiteY80" fmla="*/ 716852 h 963549"/>
              <a:gd name="connsiteX81" fmla="*/ 563404 w 8451880"/>
              <a:gd name="connsiteY81" fmla="*/ 649700 h 963549"/>
              <a:gd name="connsiteX82" fmla="*/ 563404 w 8451880"/>
              <a:gd name="connsiteY82" fmla="*/ 578644 h 963549"/>
              <a:gd name="connsiteX83" fmla="*/ 537496 w 8451880"/>
              <a:gd name="connsiteY83" fmla="*/ 536258 h 963549"/>
              <a:gd name="connsiteX84" fmla="*/ 537496 w 8451880"/>
              <a:gd name="connsiteY84" fmla="*/ 436721 h 963549"/>
              <a:gd name="connsiteX85" fmla="*/ 498824 w 8451880"/>
              <a:gd name="connsiteY85" fmla="*/ 368999 h 963549"/>
              <a:gd name="connsiteX86" fmla="*/ 581120 w 8451880"/>
              <a:gd name="connsiteY86" fmla="*/ 368999 h 963549"/>
              <a:gd name="connsiteX87" fmla="*/ 627698 w 8451880"/>
              <a:gd name="connsiteY87" fmla="*/ 443579 h 963549"/>
              <a:gd name="connsiteX88" fmla="*/ 592550 w 8451880"/>
              <a:gd name="connsiteY88" fmla="*/ 496729 h 963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8451880" h="963549">
                <a:moveTo>
                  <a:pt x="8451880" y="0"/>
                </a:moveTo>
                <a:lnTo>
                  <a:pt x="439579" y="0"/>
                </a:lnTo>
                <a:lnTo>
                  <a:pt x="399955" y="72009"/>
                </a:lnTo>
                <a:lnTo>
                  <a:pt x="351377" y="72390"/>
                </a:lnTo>
                <a:lnTo>
                  <a:pt x="307467" y="0"/>
                </a:lnTo>
                <a:lnTo>
                  <a:pt x="118967" y="0"/>
                </a:lnTo>
                <a:lnTo>
                  <a:pt x="0" y="199739"/>
                </a:lnTo>
                <a:lnTo>
                  <a:pt x="0" y="342138"/>
                </a:lnTo>
                <a:lnTo>
                  <a:pt x="78296" y="463772"/>
                </a:lnTo>
                <a:lnTo>
                  <a:pt x="204216" y="463772"/>
                </a:lnTo>
                <a:lnTo>
                  <a:pt x="219647" y="437007"/>
                </a:lnTo>
                <a:lnTo>
                  <a:pt x="381000" y="437007"/>
                </a:lnTo>
                <a:lnTo>
                  <a:pt x="399288" y="469773"/>
                </a:lnTo>
                <a:lnTo>
                  <a:pt x="399288" y="568071"/>
                </a:lnTo>
                <a:lnTo>
                  <a:pt x="434245" y="628841"/>
                </a:lnTo>
                <a:cubicBezTo>
                  <a:pt x="434181" y="650336"/>
                  <a:pt x="434118" y="671830"/>
                  <a:pt x="434054" y="693325"/>
                </a:cubicBezTo>
                <a:lnTo>
                  <a:pt x="492728" y="800005"/>
                </a:lnTo>
                <a:lnTo>
                  <a:pt x="492728" y="884873"/>
                </a:lnTo>
                <a:lnTo>
                  <a:pt x="559118" y="962978"/>
                </a:lnTo>
                <a:lnTo>
                  <a:pt x="645414" y="963549"/>
                </a:lnTo>
                <a:lnTo>
                  <a:pt x="688372" y="892112"/>
                </a:lnTo>
                <a:lnTo>
                  <a:pt x="688372" y="837914"/>
                </a:lnTo>
                <a:lnTo>
                  <a:pt x="784479" y="687229"/>
                </a:lnTo>
                <a:lnTo>
                  <a:pt x="784479" y="586169"/>
                </a:lnTo>
                <a:lnTo>
                  <a:pt x="831152" y="512636"/>
                </a:lnTo>
                <a:lnTo>
                  <a:pt x="886968" y="513207"/>
                </a:lnTo>
                <a:lnTo>
                  <a:pt x="979075" y="352139"/>
                </a:lnTo>
                <a:lnTo>
                  <a:pt x="809530" y="352139"/>
                </a:lnTo>
                <a:lnTo>
                  <a:pt x="761333" y="269367"/>
                </a:lnTo>
                <a:lnTo>
                  <a:pt x="761429" y="189357"/>
                </a:lnTo>
                <a:lnTo>
                  <a:pt x="681419" y="77438"/>
                </a:lnTo>
                <a:lnTo>
                  <a:pt x="655511" y="77438"/>
                </a:lnTo>
                <a:lnTo>
                  <a:pt x="487299" y="77438"/>
                </a:lnTo>
                <a:lnTo>
                  <a:pt x="443293" y="153448"/>
                </a:lnTo>
                <a:lnTo>
                  <a:pt x="316421" y="153448"/>
                </a:lnTo>
                <a:lnTo>
                  <a:pt x="265843" y="67056"/>
                </a:lnTo>
                <a:lnTo>
                  <a:pt x="159639" y="67056"/>
                </a:lnTo>
                <a:lnTo>
                  <a:pt x="71914" y="225457"/>
                </a:lnTo>
                <a:lnTo>
                  <a:pt x="71914" y="311753"/>
                </a:lnTo>
                <a:lnTo>
                  <a:pt x="121825" y="393192"/>
                </a:lnTo>
                <a:lnTo>
                  <a:pt x="160687" y="393192"/>
                </a:lnTo>
                <a:lnTo>
                  <a:pt x="173260" y="370332"/>
                </a:lnTo>
                <a:lnTo>
                  <a:pt x="416433" y="370332"/>
                </a:lnTo>
                <a:lnTo>
                  <a:pt x="465392" y="455676"/>
                </a:lnTo>
                <a:lnTo>
                  <a:pt x="465392" y="556736"/>
                </a:lnTo>
                <a:lnTo>
                  <a:pt x="500443" y="616839"/>
                </a:lnTo>
                <a:lnTo>
                  <a:pt x="500443" y="678275"/>
                </a:lnTo>
                <a:lnTo>
                  <a:pt x="563309" y="783527"/>
                </a:lnTo>
                <a:lnTo>
                  <a:pt x="563309" y="847344"/>
                </a:lnTo>
                <a:lnTo>
                  <a:pt x="594932" y="888492"/>
                </a:lnTo>
                <a:lnTo>
                  <a:pt x="609124" y="888492"/>
                </a:lnTo>
                <a:lnTo>
                  <a:pt x="628460" y="856488"/>
                </a:lnTo>
                <a:lnTo>
                  <a:pt x="628460" y="810292"/>
                </a:lnTo>
                <a:lnTo>
                  <a:pt x="717899" y="667226"/>
                </a:lnTo>
                <a:cubicBezTo>
                  <a:pt x="718121" y="630206"/>
                  <a:pt x="718344" y="593185"/>
                  <a:pt x="718566" y="556165"/>
                </a:cubicBezTo>
                <a:lnTo>
                  <a:pt x="790956" y="448056"/>
                </a:lnTo>
                <a:lnTo>
                  <a:pt x="843725" y="447770"/>
                </a:lnTo>
                <a:lnTo>
                  <a:pt x="861060" y="419957"/>
                </a:lnTo>
                <a:lnTo>
                  <a:pt x="767239" y="419957"/>
                </a:lnTo>
                <a:lnTo>
                  <a:pt x="691229" y="291370"/>
                </a:lnTo>
                <a:cubicBezTo>
                  <a:pt x="690562" y="264382"/>
                  <a:pt x="689896" y="237395"/>
                  <a:pt x="689229" y="210407"/>
                </a:cubicBezTo>
                <a:lnTo>
                  <a:pt x="640271" y="144399"/>
                </a:lnTo>
                <a:lnTo>
                  <a:pt x="532352" y="143447"/>
                </a:lnTo>
                <a:lnTo>
                  <a:pt x="483108" y="228410"/>
                </a:lnTo>
                <a:lnTo>
                  <a:pt x="271082" y="228410"/>
                </a:lnTo>
                <a:lnTo>
                  <a:pt x="227743" y="156782"/>
                </a:lnTo>
                <a:lnTo>
                  <a:pt x="200216" y="156782"/>
                </a:lnTo>
                <a:lnTo>
                  <a:pt x="152019" y="248126"/>
                </a:lnTo>
                <a:cubicBezTo>
                  <a:pt x="151606" y="265081"/>
                  <a:pt x="151194" y="282035"/>
                  <a:pt x="150781" y="298990"/>
                </a:cubicBezTo>
                <a:lnTo>
                  <a:pt x="153638" y="303562"/>
                </a:lnTo>
                <a:lnTo>
                  <a:pt x="157353" y="303467"/>
                </a:lnTo>
                <a:lnTo>
                  <a:pt x="161068" y="298990"/>
                </a:lnTo>
                <a:lnTo>
                  <a:pt x="525304" y="299180"/>
                </a:lnTo>
                <a:lnTo>
                  <a:pt x="578739" y="213741"/>
                </a:lnTo>
                <a:lnTo>
                  <a:pt x="607314" y="213741"/>
                </a:lnTo>
                <a:lnTo>
                  <a:pt x="629317" y="242697"/>
                </a:lnTo>
                <a:lnTo>
                  <a:pt x="629317" y="322326"/>
                </a:lnTo>
                <a:lnTo>
                  <a:pt x="704945" y="449294"/>
                </a:lnTo>
                <a:lnTo>
                  <a:pt x="648938" y="533400"/>
                </a:lnTo>
                <a:lnTo>
                  <a:pt x="647510" y="650558"/>
                </a:lnTo>
                <a:lnTo>
                  <a:pt x="603409" y="716852"/>
                </a:lnTo>
                <a:lnTo>
                  <a:pt x="563404" y="649700"/>
                </a:lnTo>
                <a:lnTo>
                  <a:pt x="563404" y="578644"/>
                </a:lnTo>
                <a:lnTo>
                  <a:pt x="537496" y="536258"/>
                </a:lnTo>
                <a:lnTo>
                  <a:pt x="537496" y="436721"/>
                </a:lnTo>
                <a:lnTo>
                  <a:pt x="498824" y="368999"/>
                </a:lnTo>
                <a:lnTo>
                  <a:pt x="581120" y="368999"/>
                </a:lnTo>
                <a:lnTo>
                  <a:pt x="627698" y="443579"/>
                </a:lnTo>
                <a:lnTo>
                  <a:pt x="592550" y="496729"/>
                </a:lnTo>
              </a:path>
            </a:pathLst>
          </a:custGeom>
          <a:noFill/>
          <a:ln w="7144" cap="flat">
            <a:solidFill>
              <a:srgbClr val="E63C2B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1202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C4A12B0-5BA2-5100-AAD4-E12E3C1737AF}"/>
              </a:ext>
            </a:extLst>
          </p:cNvPr>
          <p:cNvSpPr/>
          <p:nvPr userDrawn="1"/>
        </p:nvSpPr>
        <p:spPr>
          <a:xfrm>
            <a:off x="0" y="0"/>
            <a:ext cx="12192001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29B7C479-2D3F-2960-139A-D5BB63A41E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82543" y="-1"/>
            <a:ext cx="4909457" cy="6858257"/>
          </a:xfrm>
          <a:custGeom>
            <a:avLst/>
            <a:gdLst>
              <a:gd name="connsiteX0" fmla="*/ 0 w 4401300"/>
              <a:gd name="connsiteY0" fmla="*/ 0 h 6148388"/>
              <a:gd name="connsiteX1" fmla="*/ 4401300 w 4401300"/>
              <a:gd name="connsiteY1" fmla="*/ 0 h 6148388"/>
              <a:gd name="connsiteX2" fmla="*/ 4401300 w 4401300"/>
              <a:gd name="connsiteY2" fmla="*/ 6148388 h 6148388"/>
              <a:gd name="connsiteX3" fmla="*/ 3799566 w 4401300"/>
              <a:gd name="connsiteY3" fmla="*/ 6148388 h 614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01300" h="6148388">
                <a:moveTo>
                  <a:pt x="0" y="0"/>
                </a:moveTo>
                <a:lnTo>
                  <a:pt x="4401300" y="0"/>
                </a:lnTo>
                <a:lnTo>
                  <a:pt x="4401300" y="6148388"/>
                </a:lnTo>
                <a:lnTo>
                  <a:pt x="3799566" y="6148388"/>
                </a:lnTo>
                <a:close/>
              </a:path>
            </a:pathLst>
          </a:cu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FD2AA106-02DD-9456-5F7D-D1D25492CDB8}"/>
              </a:ext>
            </a:extLst>
          </p:cNvPr>
          <p:cNvSpPr/>
          <p:nvPr userDrawn="1"/>
        </p:nvSpPr>
        <p:spPr>
          <a:xfrm>
            <a:off x="11521842" y="6474757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5D950A5-2828-221A-996F-175C05E4BB43}"/>
              </a:ext>
            </a:extLst>
          </p:cNvPr>
          <p:cNvSpPr/>
          <p:nvPr userDrawn="1"/>
        </p:nvSpPr>
        <p:spPr>
          <a:xfrm>
            <a:off x="11588593" y="65348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 dirty="0">
              <a:solidFill>
                <a:schemeClr val="bg1"/>
              </a:solidFill>
              <a:latin typeface="Tahoma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470FF30-5A43-9A43-5905-5F595AC73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795" y="2844800"/>
            <a:ext cx="6212351" cy="4101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65" name="Text Placeholder 13">
            <a:extLst>
              <a:ext uri="{FF2B5EF4-FFF2-40B4-BE49-F238E27FC236}">
                <a16:creationId xmlns:a16="http://schemas.microsoft.com/office/drawing/2014/main" id="{0A8EDC15-9113-2840-B13A-8731DFA92A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3795" y="3548530"/>
            <a:ext cx="5889053" cy="410136"/>
          </a:xfrm>
          <a:prstGeom prst="rect">
            <a:avLst/>
          </a:prstGeom>
        </p:spPr>
        <p:txBody>
          <a:bodyPr wrap="none"/>
          <a:lstStyle>
            <a:lvl1pPr>
              <a:defRPr sz="16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</p:spTree>
    <p:extLst>
      <p:ext uri="{BB962C8B-B14F-4D97-AF65-F5344CB8AC3E}">
        <p14:creationId xmlns:p14="http://schemas.microsoft.com/office/powerpoint/2010/main" val="36105103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EE5FA182-F7DE-7FF9-AF9F-6B97D1F061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559081"/>
            <a:ext cx="5741486" cy="12311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3" y="281832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800"/>
              <a:t>Sub-heading text here and </a:t>
            </a:r>
            <a:br>
              <a:rPr lang="en-GB" sz="1800"/>
            </a:br>
            <a:r>
              <a:rPr lang="en-GB" sz="1800"/>
              <a:t>here and here and here</a:t>
            </a: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93492736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2D027E8-2D4E-9357-81F5-234479FBBA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3634" y="528118"/>
            <a:ext cx="5907785" cy="3522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F0BAC52-79D1-6BFD-F36B-C7F59E7AB7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8755" y="1778000"/>
            <a:ext cx="42037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8657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370647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60872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921209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E1EFCF2-014A-C6FC-8AA7-CCC868BA8A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158786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24358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2D027E8-2D4E-9357-81F5-234479FBBA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5" y="845445"/>
            <a:ext cx="10079724" cy="3522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1F9625-3BD0-8CEF-BB6E-C2D380C404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3474" y="1778000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8657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370647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60872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921209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CFE821C-A126-325A-A5F7-2E8FCBEC6A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0000" y="1778000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8657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370647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60872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921209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77C89CF-65C0-65A1-9053-1E5547FD1A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6526" y="1778000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8657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370647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60872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921209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10E32AF-ABB5-810B-6647-AA7A03E11C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180975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CE057FC0-0CF3-598B-7894-CC63D03D9B7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10100" y="1777883"/>
            <a:ext cx="7581900" cy="3902075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1CA1FCD-EF11-F77D-A3FA-03915A1E75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7951" y="2466814"/>
            <a:ext cx="4139578" cy="3213144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00000"/>
              </a:lnSpc>
              <a:spcBef>
                <a:spcPts val="56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1800"/>
              <a:t>Normal text here and here and here and here</a:t>
            </a:r>
            <a:endParaRPr lang="en-GB" sz="2400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7ADA2A2-B019-3E85-7EB4-24AC52AC21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792" y="1776016"/>
            <a:ext cx="4139578" cy="690797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E2CF7-1553-356D-C0BE-FEE5FC3377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674507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031-043D-4150-8D51-38680CAB1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436" y="1061440"/>
            <a:ext cx="10822684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C6647BB-83A6-68CE-A0DA-BA6CBD6AE7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1435" y="2112087"/>
            <a:ext cx="10822684" cy="2361671"/>
          </a:xfrm>
          <a:prstGeom prst="rect">
            <a:avLst/>
          </a:prstGeom>
        </p:spPr>
        <p:txBody>
          <a:bodyPr/>
          <a:lstStyle>
            <a:lvl1pPr marL="7521" marR="361381" indent="-189904" algn="ctr">
              <a:lnSpc>
                <a:spcPct val="165300"/>
              </a:lnSpc>
              <a:spcBef>
                <a:spcPts val="56"/>
              </a:spcBef>
              <a:buNone/>
              <a:defRPr sz="20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/>
              <a:t>Lorem ipsum dolor sit </a:t>
            </a:r>
            <a:r>
              <a:rPr lang="en-US" sz="2400" err="1"/>
              <a:t>amet</a:t>
            </a:r>
            <a:r>
              <a:rPr lang="en-US" sz="2400"/>
              <a:t>, </a:t>
            </a:r>
            <a:r>
              <a:rPr lang="en-US" sz="2400" err="1"/>
              <a:t>consectetuer</a:t>
            </a:r>
            <a:r>
              <a:rPr lang="en-US" sz="2400"/>
              <a:t> </a:t>
            </a:r>
            <a:r>
              <a:rPr lang="en-US" sz="2400" err="1"/>
              <a:t>adipiscing</a:t>
            </a:r>
            <a:r>
              <a:rPr lang="en-US" sz="2400"/>
              <a:t> </a:t>
            </a:r>
            <a:r>
              <a:rPr lang="en-US" sz="2400" err="1"/>
              <a:t>elit</a:t>
            </a:r>
            <a:r>
              <a:rPr lang="en-US" sz="2400"/>
              <a:t>, sed diam </a:t>
            </a:r>
            <a:r>
              <a:rPr lang="en-US" sz="2400" err="1"/>
              <a:t>nonummy</a:t>
            </a:r>
            <a:r>
              <a:rPr lang="en-US" sz="2400"/>
              <a:t> </a:t>
            </a:r>
            <a:r>
              <a:rPr lang="en-US" sz="2400" err="1"/>
              <a:t>nibh</a:t>
            </a:r>
            <a:r>
              <a:rPr lang="en-US" sz="2400"/>
              <a:t> </a:t>
            </a:r>
            <a:r>
              <a:rPr lang="en-US" sz="2400" err="1"/>
              <a:t>euismod</a:t>
            </a:r>
            <a:r>
              <a:rPr lang="en-US" sz="2400"/>
              <a:t> </a:t>
            </a:r>
            <a:r>
              <a:rPr lang="en-US" sz="2400" err="1"/>
              <a:t>tincidunt</a:t>
            </a:r>
            <a:r>
              <a:rPr lang="en-US" sz="2400"/>
              <a:t> </a:t>
            </a:r>
            <a:r>
              <a:rPr lang="en-US" sz="2400" err="1"/>
              <a:t>ut</a:t>
            </a:r>
            <a:r>
              <a:rPr lang="en-US" sz="2400"/>
              <a:t> </a:t>
            </a:r>
            <a:r>
              <a:rPr lang="en-US" sz="2400" err="1"/>
              <a:t>laoreet</a:t>
            </a:r>
            <a:r>
              <a:rPr lang="en-US" sz="2400"/>
              <a:t> dolore magna </a:t>
            </a:r>
            <a:r>
              <a:rPr lang="en-US" sz="2400" err="1"/>
              <a:t>aliquam</a:t>
            </a:r>
            <a:r>
              <a:rPr lang="en-US" sz="2400"/>
              <a:t> </a:t>
            </a:r>
            <a:r>
              <a:rPr lang="en-US" sz="2400" err="1"/>
              <a:t>erat</a:t>
            </a:r>
            <a:r>
              <a:rPr lang="en-US" sz="2400"/>
              <a:t> </a:t>
            </a:r>
            <a:r>
              <a:rPr lang="en-US" sz="2400" err="1"/>
              <a:t>volutpat</a:t>
            </a:r>
            <a:r>
              <a:rPr lang="en-US" sz="2400"/>
              <a:t>. Ut </a:t>
            </a:r>
            <a:r>
              <a:rPr lang="en-US" sz="2400" err="1"/>
              <a:t>wisi</a:t>
            </a:r>
            <a:r>
              <a:rPr lang="en-US" sz="2400"/>
              <a:t> </a:t>
            </a:r>
            <a:r>
              <a:rPr lang="en-US" sz="2400" err="1"/>
              <a:t>enim</a:t>
            </a:r>
            <a:r>
              <a:rPr lang="en-US" sz="2400"/>
              <a:t> ad minim </a:t>
            </a:r>
            <a:r>
              <a:rPr lang="en-US" sz="2400" err="1"/>
              <a:t>veniam</a:t>
            </a:r>
            <a:r>
              <a:rPr lang="en-US" sz="2400"/>
              <a:t>, </a:t>
            </a:r>
            <a:r>
              <a:rPr lang="en-US" sz="2400" err="1"/>
              <a:t>quis</a:t>
            </a:r>
            <a:r>
              <a:rPr lang="en-US" sz="2400"/>
              <a:t> </a:t>
            </a:r>
            <a:r>
              <a:rPr lang="en-US" sz="2400" err="1"/>
              <a:t>nostrud</a:t>
            </a:r>
            <a:r>
              <a:rPr lang="en-US" sz="2400"/>
              <a:t> </a:t>
            </a:r>
            <a:r>
              <a:rPr lang="en-US" sz="2400" err="1"/>
              <a:t>exerci</a:t>
            </a:r>
            <a:r>
              <a:rPr lang="en-US" sz="2400"/>
              <a:t> </a:t>
            </a:r>
            <a:r>
              <a:rPr lang="en-US" sz="2400" err="1"/>
              <a:t>tation</a:t>
            </a:r>
            <a:r>
              <a:rPr lang="en-US" sz="2400"/>
              <a:t> </a:t>
            </a:r>
            <a:r>
              <a:rPr lang="en-US" sz="2400" err="1"/>
              <a:t>ullamcorper</a:t>
            </a:r>
            <a:r>
              <a:rPr lang="en-US" sz="2400"/>
              <a:t> </a:t>
            </a:r>
            <a:r>
              <a:rPr lang="en-US" sz="2400" err="1"/>
              <a:t>suscipit</a:t>
            </a:r>
            <a:r>
              <a:rPr lang="en-US" sz="2400"/>
              <a:t> </a:t>
            </a:r>
            <a:r>
              <a:rPr lang="en-US" sz="2400" err="1"/>
              <a:t>lobortis</a:t>
            </a:r>
            <a:r>
              <a:rPr lang="en-US" sz="2400"/>
              <a:t> </a:t>
            </a:r>
            <a:r>
              <a:rPr lang="en-US" sz="2400" err="1"/>
              <a:t>nisl</a:t>
            </a:r>
            <a:r>
              <a:rPr lang="en-US" sz="2400"/>
              <a:t> </a:t>
            </a:r>
            <a:r>
              <a:rPr lang="en-US" sz="2400" err="1"/>
              <a:t>ut</a:t>
            </a:r>
            <a:r>
              <a:rPr lang="en-US" sz="2400"/>
              <a:t> </a:t>
            </a:r>
            <a:r>
              <a:rPr lang="en-US" sz="2400" err="1"/>
              <a:t>aliquip</a:t>
            </a:r>
            <a:r>
              <a:rPr lang="en-US" sz="2400"/>
              <a:t> ex </a:t>
            </a:r>
            <a:r>
              <a:rPr lang="en-US" sz="2400" err="1"/>
              <a:t>ea</a:t>
            </a:r>
            <a:r>
              <a:rPr lang="en-US" sz="2400"/>
              <a:t> </a:t>
            </a:r>
            <a:r>
              <a:rPr lang="en-US" sz="2400" err="1"/>
              <a:t>commodo</a:t>
            </a:r>
            <a:r>
              <a:rPr lang="en-US" sz="2400"/>
              <a:t> </a:t>
            </a:r>
            <a:r>
              <a:rPr lang="en-US" sz="2400" err="1"/>
              <a:t>consequat</a:t>
            </a:r>
            <a:r>
              <a:rPr lang="en-US" sz="2400"/>
              <a:t>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BA122D4-C660-4B51-E621-0749C8299F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96657" y="4689172"/>
            <a:ext cx="1763624" cy="23852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>
              <a:defRPr sz="900" b="0" i="1">
                <a:solidFill>
                  <a:srgbClr val="66594C"/>
                </a:solidFill>
                <a:latin typeface="Apex New Medium Italic" panose="02010600040501010103" pitchFamily="2" charset="77"/>
                <a:ea typeface="Apex New Medium Italic" panose="02010600040501010103" pitchFamily="2" charset="77"/>
              </a:defRPr>
            </a:lvl1pPr>
          </a:lstStyle>
          <a:p>
            <a:pPr lvl="0"/>
            <a:r>
              <a:rPr lang="en-GB"/>
              <a:t>Click to edit master text styles.  </a:t>
            </a:r>
          </a:p>
        </p:txBody>
      </p:sp>
    </p:spTree>
    <p:extLst>
      <p:ext uri="{BB962C8B-B14F-4D97-AF65-F5344CB8AC3E}">
        <p14:creationId xmlns:p14="http://schemas.microsoft.com/office/powerpoint/2010/main" val="3211840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4E62448-174A-A466-FFFC-726AD16245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4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7820E3CC-DF6C-09AC-D76A-4F15CB3254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5" y="831283"/>
            <a:ext cx="5889053" cy="410136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algn="l"/>
            <a:r>
              <a:rPr lang="en-GB" sz="1600"/>
              <a:t>Sub-heading text here and here and here and here</a:t>
            </a:r>
            <a:endParaRPr lang="en-GB" sz="2000"/>
          </a:p>
        </p:txBody>
      </p:sp>
    </p:spTree>
    <p:extLst>
      <p:ext uri="{BB962C8B-B14F-4D97-AF65-F5344CB8AC3E}">
        <p14:creationId xmlns:p14="http://schemas.microsoft.com/office/powerpoint/2010/main" val="39784085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128680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5037CE3-375D-2BB2-1C58-73F4A24152B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9356F0B1-A2E8-1558-F23B-6FD74C52E4B8}"/>
              </a:ext>
            </a:extLst>
          </p:cNvPr>
          <p:cNvSpPr/>
          <p:nvPr userDrawn="1"/>
        </p:nvSpPr>
        <p:spPr>
          <a:xfrm>
            <a:off x="11521842" y="6474757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325288-7D19-894A-52D8-9A820BF0B847}"/>
              </a:ext>
            </a:extLst>
          </p:cNvPr>
          <p:cNvSpPr/>
          <p:nvPr userDrawn="1"/>
        </p:nvSpPr>
        <p:spPr>
          <a:xfrm>
            <a:off x="11588593" y="65348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 dirty="0">
              <a:solidFill>
                <a:schemeClr val="bg1"/>
              </a:solidFill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77226649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5037CE3-375D-2BB2-1C58-73F4A24152BA}"/>
              </a:ext>
            </a:extLst>
          </p:cNvPr>
          <p:cNvSpPr/>
          <p:nvPr userDrawn="1"/>
        </p:nvSpPr>
        <p:spPr>
          <a:xfrm>
            <a:off x="0" y="0"/>
            <a:ext cx="12192000" cy="603754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65872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031-043D-4150-8D51-38680CAB1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CUSTOM SLID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230449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Graph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Titles PAGE2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1" y="0"/>
            <a:ext cx="12188249" cy="6858000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696976" y="6527033"/>
            <a:ext cx="1077350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1204" y="453073"/>
            <a:ext cx="10238214" cy="0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182508" y="71120"/>
            <a:ext cx="1688123" cy="64770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587329" y="6616442"/>
            <a:ext cx="518069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US" sz="1200" b="0" i="0" u="none" strike="noStrike" kern="1200" baseline="30000" dirty="0">
                <a:solidFill>
                  <a:srgbClr val="E6292B"/>
                </a:solidFill>
                <a:latin typeface="ApexSans-Book"/>
                <a:ea typeface="ＭＳ Ｐゴシック" charset="0"/>
                <a:cs typeface="ApexSans-Book"/>
              </a:rPr>
              <a:t>Results Announcement </a:t>
            </a:r>
            <a:r>
              <a:rPr lang="en-US" sz="1200" b="0" i="0" u="none" strike="noStrike" kern="1200" baseline="30000" dirty="0">
                <a:solidFill>
                  <a:srgbClr val="E6292B"/>
                </a:solidFill>
                <a:latin typeface="ApexSans-Bold"/>
                <a:ea typeface="ＭＳ Ｐゴシック" charset="0"/>
                <a:cs typeface="ApexSans-Bold"/>
              </a:rPr>
              <a:t>2016</a:t>
            </a:r>
          </a:p>
        </p:txBody>
      </p:sp>
    </p:spTree>
    <p:extLst>
      <p:ext uri="{BB962C8B-B14F-4D97-AF65-F5344CB8AC3E}">
        <p14:creationId xmlns:p14="http://schemas.microsoft.com/office/powerpoint/2010/main" val="302455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vmlDrawing" Target="../drawings/vmlDrawing2.v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oleObject" Target="../embeddings/oleObject2.bin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57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65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slideLayout" Target="../slideLayouts/slideLayout95.xml"/><Relationship Id="rId3" Type="http://schemas.openxmlformats.org/officeDocument/2006/relationships/slideLayout" Target="../slideLayouts/slideLayout72.xml"/><Relationship Id="rId21" Type="http://schemas.openxmlformats.org/officeDocument/2006/relationships/slideLayout" Target="../slideLayouts/slideLayout90.xml"/><Relationship Id="rId34" Type="http://schemas.openxmlformats.org/officeDocument/2006/relationships/oleObject" Target="../embeddings/oleObject10.bin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33" Type="http://schemas.openxmlformats.org/officeDocument/2006/relationships/tags" Target="../tags/tag10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29" Type="http://schemas.openxmlformats.org/officeDocument/2006/relationships/slideLayout" Target="../slideLayouts/slideLayout98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32" Type="http://schemas.openxmlformats.org/officeDocument/2006/relationships/vmlDrawing" Target="../drawings/vmlDrawing10.v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slideLayout" Target="../slideLayouts/slideLayout99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77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26" Type="http://schemas.openxmlformats.org/officeDocument/2006/relationships/slideLayout" Target="../slideLayouts/slideLayout125.xml"/><Relationship Id="rId21" Type="http://schemas.openxmlformats.org/officeDocument/2006/relationships/slideLayout" Target="../slideLayouts/slideLayout120.xml"/><Relationship Id="rId34" Type="http://schemas.openxmlformats.org/officeDocument/2006/relationships/tags" Target="../tags/tag12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5" Type="http://schemas.openxmlformats.org/officeDocument/2006/relationships/slideLayout" Target="../slideLayouts/slideLayout124.xml"/><Relationship Id="rId33" Type="http://schemas.openxmlformats.org/officeDocument/2006/relationships/vmlDrawing" Target="../drawings/vmlDrawing12.vml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slideLayout" Target="../slideLayouts/slideLayout119.xml"/><Relationship Id="rId29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24" Type="http://schemas.openxmlformats.org/officeDocument/2006/relationships/slideLayout" Target="../slideLayouts/slideLayout123.xml"/><Relationship Id="rId32" Type="http://schemas.openxmlformats.org/officeDocument/2006/relationships/theme" Target="../theme/theme5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slideLayout" Target="../slideLayouts/slideLayout122.xml"/><Relationship Id="rId28" Type="http://schemas.openxmlformats.org/officeDocument/2006/relationships/slideLayout" Target="../slideLayouts/slideLayout127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31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21.xml"/><Relationship Id="rId27" Type="http://schemas.openxmlformats.org/officeDocument/2006/relationships/slideLayout" Target="../slideLayouts/slideLayout126.xml"/><Relationship Id="rId30" Type="http://schemas.openxmlformats.org/officeDocument/2006/relationships/slideLayout" Target="../slideLayouts/slideLayout129.xml"/><Relationship Id="rId35" Type="http://schemas.openxmlformats.org/officeDocument/2006/relationships/oleObject" Target="../embeddings/oleObject12.bin"/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48978833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32" imgW="421" imgH="420" progId="TCLayout.ActiveDocument.1">
                  <p:embed/>
                </p:oleObj>
              </mc:Choice>
              <mc:Fallback>
                <p:oleObj name="think-cell Slide" r:id="rId32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4">
            <a:extLst>
              <a:ext uri="{FF2B5EF4-FFF2-40B4-BE49-F238E27FC236}">
                <a16:creationId xmlns:a16="http://schemas.microsoft.com/office/drawing/2014/main" id="{A3145E3B-53D8-24D2-49B8-FC9BEF07CE71}"/>
              </a:ext>
            </a:extLst>
          </p:cNvPr>
          <p:cNvSpPr/>
          <p:nvPr userDrawn="1"/>
        </p:nvSpPr>
        <p:spPr>
          <a:xfrm>
            <a:off x="11521842" y="6474757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E2766E-0E28-428C-7713-F6A0FCA419FF}"/>
              </a:ext>
            </a:extLst>
          </p:cNvPr>
          <p:cNvSpPr/>
          <p:nvPr userDrawn="1"/>
        </p:nvSpPr>
        <p:spPr>
          <a:xfrm>
            <a:off x="11588593" y="65348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>
              <a:solidFill>
                <a:schemeClr val="bg1"/>
              </a:solidFill>
              <a:latin typeface="Tahoma"/>
            </a:endParaRPr>
          </a:p>
        </p:txBody>
      </p:sp>
      <p:sp>
        <p:nvSpPr>
          <p:cNvPr id="7" name="Graphic 64">
            <a:extLst>
              <a:ext uri="{FF2B5EF4-FFF2-40B4-BE49-F238E27FC236}">
                <a16:creationId xmlns:a16="http://schemas.microsoft.com/office/drawing/2014/main" id="{238245C2-535F-687F-738F-83FEEB859035}"/>
              </a:ext>
            </a:extLst>
          </p:cNvPr>
          <p:cNvSpPr/>
          <p:nvPr userDrawn="1"/>
        </p:nvSpPr>
        <p:spPr>
          <a:xfrm>
            <a:off x="209511" y="825398"/>
            <a:ext cx="10134961" cy="647434"/>
          </a:xfrm>
          <a:custGeom>
            <a:avLst/>
            <a:gdLst>
              <a:gd name="connsiteX0" fmla="*/ 7482459 w 7482459"/>
              <a:gd name="connsiteY0" fmla="*/ 0 h 963549"/>
              <a:gd name="connsiteX1" fmla="*/ 439579 w 7482459"/>
              <a:gd name="connsiteY1" fmla="*/ 0 h 963549"/>
              <a:gd name="connsiteX2" fmla="*/ 399955 w 7482459"/>
              <a:gd name="connsiteY2" fmla="*/ 72009 h 963549"/>
              <a:gd name="connsiteX3" fmla="*/ 351377 w 7482459"/>
              <a:gd name="connsiteY3" fmla="*/ 72390 h 963549"/>
              <a:gd name="connsiteX4" fmla="*/ 307467 w 7482459"/>
              <a:gd name="connsiteY4" fmla="*/ 0 h 963549"/>
              <a:gd name="connsiteX5" fmla="*/ 118967 w 7482459"/>
              <a:gd name="connsiteY5" fmla="*/ 0 h 963549"/>
              <a:gd name="connsiteX6" fmla="*/ 0 w 7482459"/>
              <a:gd name="connsiteY6" fmla="*/ 199739 h 963549"/>
              <a:gd name="connsiteX7" fmla="*/ 0 w 7482459"/>
              <a:gd name="connsiteY7" fmla="*/ 342138 h 963549"/>
              <a:gd name="connsiteX8" fmla="*/ 78296 w 7482459"/>
              <a:gd name="connsiteY8" fmla="*/ 463772 h 963549"/>
              <a:gd name="connsiteX9" fmla="*/ 204216 w 7482459"/>
              <a:gd name="connsiteY9" fmla="*/ 463772 h 963549"/>
              <a:gd name="connsiteX10" fmla="*/ 219647 w 7482459"/>
              <a:gd name="connsiteY10" fmla="*/ 437007 h 963549"/>
              <a:gd name="connsiteX11" fmla="*/ 381000 w 7482459"/>
              <a:gd name="connsiteY11" fmla="*/ 437007 h 963549"/>
              <a:gd name="connsiteX12" fmla="*/ 399288 w 7482459"/>
              <a:gd name="connsiteY12" fmla="*/ 469773 h 963549"/>
              <a:gd name="connsiteX13" fmla="*/ 399288 w 7482459"/>
              <a:gd name="connsiteY13" fmla="*/ 568071 h 963549"/>
              <a:gd name="connsiteX14" fmla="*/ 434245 w 7482459"/>
              <a:gd name="connsiteY14" fmla="*/ 628841 h 963549"/>
              <a:gd name="connsiteX15" fmla="*/ 434054 w 7482459"/>
              <a:gd name="connsiteY15" fmla="*/ 693325 h 963549"/>
              <a:gd name="connsiteX16" fmla="*/ 492728 w 7482459"/>
              <a:gd name="connsiteY16" fmla="*/ 800005 h 963549"/>
              <a:gd name="connsiteX17" fmla="*/ 492728 w 7482459"/>
              <a:gd name="connsiteY17" fmla="*/ 884873 h 963549"/>
              <a:gd name="connsiteX18" fmla="*/ 559118 w 7482459"/>
              <a:gd name="connsiteY18" fmla="*/ 962978 h 963549"/>
              <a:gd name="connsiteX19" fmla="*/ 645414 w 7482459"/>
              <a:gd name="connsiteY19" fmla="*/ 963549 h 963549"/>
              <a:gd name="connsiteX20" fmla="*/ 688372 w 7482459"/>
              <a:gd name="connsiteY20" fmla="*/ 892112 h 963549"/>
              <a:gd name="connsiteX21" fmla="*/ 688372 w 7482459"/>
              <a:gd name="connsiteY21" fmla="*/ 837914 h 963549"/>
              <a:gd name="connsiteX22" fmla="*/ 784479 w 7482459"/>
              <a:gd name="connsiteY22" fmla="*/ 687229 h 963549"/>
              <a:gd name="connsiteX23" fmla="*/ 784479 w 7482459"/>
              <a:gd name="connsiteY23" fmla="*/ 586169 h 963549"/>
              <a:gd name="connsiteX24" fmla="*/ 831152 w 7482459"/>
              <a:gd name="connsiteY24" fmla="*/ 512636 h 963549"/>
              <a:gd name="connsiteX25" fmla="*/ 886968 w 7482459"/>
              <a:gd name="connsiteY25" fmla="*/ 513207 h 963549"/>
              <a:gd name="connsiteX26" fmla="*/ 979075 w 7482459"/>
              <a:gd name="connsiteY26" fmla="*/ 352139 h 963549"/>
              <a:gd name="connsiteX27" fmla="*/ 809530 w 7482459"/>
              <a:gd name="connsiteY27" fmla="*/ 352139 h 963549"/>
              <a:gd name="connsiteX28" fmla="*/ 761333 w 7482459"/>
              <a:gd name="connsiteY28" fmla="*/ 269367 h 963549"/>
              <a:gd name="connsiteX29" fmla="*/ 761429 w 7482459"/>
              <a:gd name="connsiteY29" fmla="*/ 189357 h 963549"/>
              <a:gd name="connsiteX30" fmla="*/ 681419 w 7482459"/>
              <a:gd name="connsiteY30" fmla="*/ 77438 h 963549"/>
              <a:gd name="connsiteX31" fmla="*/ 655511 w 7482459"/>
              <a:gd name="connsiteY31" fmla="*/ 77438 h 963549"/>
              <a:gd name="connsiteX32" fmla="*/ 487299 w 7482459"/>
              <a:gd name="connsiteY32" fmla="*/ 77438 h 963549"/>
              <a:gd name="connsiteX33" fmla="*/ 443293 w 7482459"/>
              <a:gd name="connsiteY33" fmla="*/ 153448 h 963549"/>
              <a:gd name="connsiteX34" fmla="*/ 316421 w 7482459"/>
              <a:gd name="connsiteY34" fmla="*/ 153448 h 963549"/>
              <a:gd name="connsiteX35" fmla="*/ 265843 w 7482459"/>
              <a:gd name="connsiteY35" fmla="*/ 67056 h 963549"/>
              <a:gd name="connsiteX36" fmla="*/ 159639 w 7482459"/>
              <a:gd name="connsiteY36" fmla="*/ 67056 h 963549"/>
              <a:gd name="connsiteX37" fmla="*/ 71914 w 7482459"/>
              <a:gd name="connsiteY37" fmla="*/ 225457 h 963549"/>
              <a:gd name="connsiteX38" fmla="*/ 71914 w 7482459"/>
              <a:gd name="connsiteY38" fmla="*/ 311753 h 963549"/>
              <a:gd name="connsiteX39" fmla="*/ 121825 w 7482459"/>
              <a:gd name="connsiteY39" fmla="*/ 393192 h 963549"/>
              <a:gd name="connsiteX40" fmla="*/ 160687 w 7482459"/>
              <a:gd name="connsiteY40" fmla="*/ 393192 h 963549"/>
              <a:gd name="connsiteX41" fmla="*/ 173260 w 7482459"/>
              <a:gd name="connsiteY41" fmla="*/ 370332 h 963549"/>
              <a:gd name="connsiteX42" fmla="*/ 416433 w 7482459"/>
              <a:gd name="connsiteY42" fmla="*/ 370332 h 963549"/>
              <a:gd name="connsiteX43" fmla="*/ 465392 w 7482459"/>
              <a:gd name="connsiteY43" fmla="*/ 455676 h 963549"/>
              <a:gd name="connsiteX44" fmla="*/ 465392 w 7482459"/>
              <a:gd name="connsiteY44" fmla="*/ 556736 h 963549"/>
              <a:gd name="connsiteX45" fmla="*/ 500443 w 7482459"/>
              <a:gd name="connsiteY45" fmla="*/ 616839 h 963549"/>
              <a:gd name="connsiteX46" fmla="*/ 500443 w 7482459"/>
              <a:gd name="connsiteY46" fmla="*/ 678275 h 963549"/>
              <a:gd name="connsiteX47" fmla="*/ 563309 w 7482459"/>
              <a:gd name="connsiteY47" fmla="*/ 783527 h 963549"/>
              <a:gd name="connsiteX48" fmla="*/ 563309 w 7482459"/>
              <a:gd name="connsiteY48" fmla="*/ 847344 h 963549"/>
              <a:gd name="connsiteX49" fmla="*/ 594932 w 7482459"/>
              <a:gd name="connsiteY49" fmla="*/ 888492 h 963549"/>
              <a:gd name="connsiteX50" fmla="*/ 609124 w 7482459"/>
              <a:gd name="connsiteY50" fmla="*/ 888492 h 963549"/>
              <a:gd name="connsiteX51" fmla="*/ 628460 w 7482459"/>
              <a:gd name="connsiteY51" fmla="*/ 856488 h 963549"/>
              <a:gd name="connsiteX52" fmla="*/ 628460 w 7482459"/>
              <a:gd name="connsiteY52" fmla="*/ 810292 h 963549"/>
              <a:gd name="connsiteX53" fmla="*/ 717899 w 7482459"/>
              <a:gd name="connsiteY53" fmla="*/ 667226 h 963549"/>
              <a:gd name="connsiteX54" fmla="*/ 718566 w 7482459"/>
              <a:gd name="connsiteY54" fmla="*/ 556165 h 963549"/>
              <a:gd name="connsiteX55" fmla="*/ 790956 w 7482459"/>
              <a:gd name="connsiteY55" fmla="*/ 448056 h 963549"/>
              <a:gd name="connsiteX56" fmla="*/ 843725 w 7482459"/>
              <a:gd name="connsiteY56" fmla="*/ 447770 h 963549"/>
              <a:gd name="connsiteX57" fmla="*/ 861060 w 7482459"/>
              <a:gd name="connsiteY57" fmla="*/ 419957 h 963549"/>
              <a:gd name="connsiteX58" fmla="*/ 767239 w 7482459"/>
              <a:gd name="connsiteY58" fmla="*/ 419957 h 963549"/>
              <a:gd name="connsiteX59" fmla="*/ 691229 w 7482459"/>
              <a:gd name="connsiteY59" fmla="*/ 291370 h 963549"/>
              <a:gd name="connsiteX60" fmla="*/ 689229 w 7482459"/>
              <a:gd name="connsiteY60" fmla="*/ 210407 h 963549"/>
              <a:gd name="connsiteX61" fmla="*/ 640271 w 7482459"/>
              <a:gd name="connsiteY61" fmla="*/ 144399 h 963549"/>
              <a:gd name="connsiteX62" fmla="*/ 532352 w 7482459"/>
              <a:gd name="connsiteY62" fmla="*/ 143447 h 963549"/>
              <a:gd name="connsiteX63" fmla="*/ 483108 w 7482459"/>
              <a:gd name="connsiteY63" fmla="*/ 228410 h 963549"/>
              <a:gd name="connsiteX64" fmla="*/ 271082 w 7482459"/>
              <a:gd name="connsiteY64" fmla="*/ 228410 h 963549"/>
              <a:gd name="connsiteX65" fmla="*/ 227743 w 7482459"/>
              <a:gd name="connsiteY65" fmla="*/ 156782 h 963549"/>
              <a:gd name="connsiteX66" fmla="*/ 200216 w 7482459"/>
              <a:gd name="connsiteY66" fmla="*/ 156782 h 963549"/>
              <a:gd name="connsiteX67" fmla="*/ 152019 w 7482459"/>
              <a:gd name="connsiteY67" fmla="*/ 248126 h 963549"/>
              <a:gd name="connsiteX68" fmla="*/ 150781 w 7482459"/>
              <a:gd name="connsiteY68" fmla="*/ 298990 h 963549"/>
              <a:gd name="connsiteX69" fmla="*/ 153638 w 7482459"/>
              <a:gd name="connsiteY69" fmla="*/ 303562 h 963549"/>
              <a:gd name="connsiteX70" fmla="*/ 157353 w 7482459"/>
              <a:gd name="connsiteY70" fmla="*/ 303467 h 963549"/>
              <a:gd name="connsiteX71" fmla="*/ 161068 w 7482459"/>
              <a:gd name="connsiteY71" fmla="*/ 298990 h 963549"/>
              <a:gd name="connsiteX72" fmla="*/ 525304 w 7482459"/>
              <a:gd name="connsiteY72" fmla="*/ 299180 h 963549"/>
              <a:gd name="connsiteX73" fmla="*/ 578739 w 7482459"/>
              <a:gd name="connsiteY73" fmla="*/ 213741 h 963549"/>
              <a:gd name="connsiteX74" fmla="*/ 607314 w 7482459"/>
              <a:gd name="connsiteY74" fmla="*/ 213741 h 963549"/>
              <a:gd name="connsiteX75" fmla="*/ 629317 w 7482459"/>
              <a:gd name="connsiteY75" fmla="*/ 242697 h 963549"/>
              <a:gd name="connsiteX76" fmla="*/ 629317 w 7482459"/>
              <a:gd name="connsiteY76" fmla="*/ 322326 h 963549"/>
              <a:gd name="connsiteX77" fmla="*/ 704945 w 7482459"/>
              <a:gd name="connsiteY77" fmla="*/ 449294 h 963549"/>
              <a:gd name="connsiteX78" fmla="*/ 648938 w 7482459"/>
              <a:gd name="connsiteY78" fmla="*/ 533400 h 963549"/>
              <a:gd name="connsiteX79" fmla="*/ 647510 w 7482459"/>
              <a:gd name="connsiteY79" fmla="*/ 650558 h 963549"/>
              <a:gd name="connsiteX80" fmla="*/ 603409 w 7482459"/>
              <a:gd name="connsiteY80" fmla="*/ 716852 h 963549"/>
              <a:gd name="connsiteX81" fmla="*/ 563404 w 7482459"/>
              <a:gd name="connsiteY81" fmla="*/ 649700 h 963549"/>
              <a:gd name="connsiteX82" fmla="*/ 563404 w 7482459"/>
              <a:gd name="connsiteY82" fmla="*/ 578644 h 963549"/>
              <a:gd name="connsiteX83" fmla="*/ 537496 w 7482459"/>
              <a:gd name="connsiteY83" fmla="*/ 536258 h 963549"/>
              <a:gd name="connsiteX84" fmla="*/ 537496 w 7482459"/>
              <a:gd name="connsiteY84" fmla="*/ 436721 h 963549"/>
              <a:gd name="connsiteX85" fmla="*/ 498824 w 7482459"/>
              <a:gd name="connsiteY85" fmla="*/ 368999 h 963549"/>
              <a:gd name="connsiteX86" fmla="*/ 581120 w 7482459"/>
              <a:gd name="connsiteY86" fmla="*/ 368999 h 963549"/>
              <a:gd name="connsiteX87" fmla="*/ 627698 w 7482459"/>
              <a:gd name="connsiteY87" fmla="*/ 443579 h 963549"/>
              <a:gd name="connsiteX88" fmla="*/ 592550 w 7482459"/>
              <a:gd name="connsiteY88" fmla="*/ 496729 h 963549"/>
              <a:gd name="connsiteX0" fmla="*/ 8451880 w 8451880"/>
              <a:gd name="connsiteY0" fmla="*/ 0 h 963549"/>
              <a:gd name="connsiteX1" fmla="*/ 439579 w 8451880"/>
              <a:gd name="connsiteY1" fmla="*/ 0 h 963549"/>
              <a:gd name="connsiteX2" fmla="*/ 399955 w 8451880"/>
              <a:gd name="connsiteY2" fmla="*/ 72009 h 963549"/>
              <a:gd name="connsiteX3" fmla="*/ 351377 w 8451880"/>
              <a:gd name="connsiteY3" fmla="*/ 72390 h 963549"/>
              <a:gd name="connsiteX4" fmla="*/ 307467 w 8451880"/>
              <a:gd name="connsiteY4" fmla="*/ 0 h 963549"/>
              <a:gd name="connsiteX5" fmla="*/ 118967 w 8451880"/>
              <a:gd name="connsiteY5" fmla="*/ 0 h 963549"/>
              <a:gd name="connsiteX6" fmla="*/ 0 w 8451880"/>
              <a:gd name="connsiteY6" fmla="*/ 199739 h 963549"/>
              <a:gd name="connsiteX7" fmla="*/ 0 w 8451880"/>
              <a:gd name="connsiteY7" fmla="*/ 342138 h 963549"/>
              <a:gd name="connsiteX8" fmla="*/ 78296 w 8451880"/>
              <a:gd name="connsiteY8" fmla="*/ 463772 h 963549"/>
              <a:gd name="connsiteX9" fmla="*/ 204216 w 8451880"/>
              <a:gd name="connsiteY9" fmla="*/ 463772 h 963549"/>
              <a:gd name="connsiteX10" fmla="*/ 219647 w 8451880"/>
              <a:gd name="connsiteY10" fmla="*/ 437007 h 963549"/>
              <a:gd name="connsiteX11" fmla="*/ 381000 w 8451880"/>
              <a:gd name="connsiteY11" fmla="*/ 437007 h 963549"/>
              <a:gd name="connsiteX12" fmla="*/ 399288 w 8451880"/>
              <a:gd name="connsiteY12" fmla="*/ 469773 h 963549"/>
              <a:gd name="connsiteX13" fmla="*/ 399288 w 8451880"/>
              <a:gd name="connsiteY13" fmla="*/ 568071 h 963549"/>
              <a:gd name="connsiteX14" fmla="*/ 434245 w 8451880"/>
              <a:gd name="connsiteY14" fmla="*/ 628841 h 963549"/>
              <a:gd name="connsiteX15" fmla="*/ 434054 w 8451880"/>
              <a:gd name="connsiteY15" fmla="*/ 693325 h 963549"/>
              <a:gd name="connsiteX16" fmla="*/ 492728 w 8451880"/>
              <a:gd name="connsiteY16" fmla="*/ 800005 h 963549"/>
              <a:gd name="connsiteX17" fmla="*/ 492728 w 8451880"/>
              <a:gd name="connsiteY17" fmla="*/ 884873 h 963549"/>
              <a:gd name="connsiteX18" fmla="*/ 559118 w 8451880"/>
              <a:gd name="connsiteY18" fmla="*/ 962978 h 963549"/>
              <a:gd name="connsiteX19" fmla="*/ 645414 w 8451880"/>
              <a:gd name="connsiteY19" fmla="*/ 963549 h 963549"/>
              <a:gd name="connsiteX20" fmla="*/ 688372 w 8451880"/>
              <a:gd name="connsiteY20" fmla="*/ 892112 h 963549"/>
              <a:gd name="connsiteX21" fmla="*/ 688372 w 8451880"/>
              <a:gd name="connsiteY21" fmla="*/ 837914 h 963549"/>
              <a:gd name="connsiteX22" fmla="*/ 784479 w 8451880"/>
              <a:gd name="connsiteY22" fmla="*/ 687229 h 963549"/>
              <a:gd name="connsiteX23" fmla="*/ 784479 w 8451880"/>
              <a:gd name="connsiteY23" fmla="*/ 586169 h 963549"/>
              <a:gd name="connsiteX24" fmla="*/ 831152 w 8451880"/>
              <a:gd name="connsiteY24" fmla="*/ 512636 h 963549"/>
              <a:gd name="connsiteX25" fmla="*/ 886968 w 8451880"/>
              <a:gd name="connsiteY25" fmla="*/ 513207 h 963549"/>
              <a:gd name="connsiteX26" fmla="*/ 979075 w 8451880"/>
              <a:gd name="connsiteY26" fmla="*/ 352139 h 963549"/>
              <a:gd name="connsiteX27" fmla="*/ 809530 w 8451880"/>
              <a:gd name="connsiteY27" fmla="*/ 352139 h 963549"/>
              <a:gd name="connsiteX28" fmla="*/ 761333 w 8451880"/>
              <a:gd name="connsiteY28" fmla="*/ 269367 h 963549"/>
              <a:gd name="connsiteX29" fmla="*/ 761429 w 8451880"/>
              <a:gd name="connsiteY29" fmla="*/ 189357 h 963549"/>
              <a:gd name="connsiteX30" fmla="*/ 681419 w 8451880"/>
              <a:gd name="connsiteY30" fmla="*/ 77438 h 963549"/>
              <a:gd name="connsiteX31" fmla="*/ 655511 w 8451880"/>
              <a:gd name="connsiteY31" fmla="*/ 77438 h 963549"/>
              <a:gd name="connsiteX32" fmla="*/ 487299 w 8451880"/>
              <a:gd name="connsiteY32" fmla="*/ 77438 h 963549"/>
              <a:gd name="connsiteX33" fmla="*/ 443293 w 8451880"/>
              <a:gd name="connsiteY33" fmla="*/ 153448 h 963549"/>
              <a:gd name="connsiteX34" fmla="*/ 316421 w 8451880"/>
              <a:gd name="connsiteY34" fmla="*/ 153448 h 963549"/>
              <a:gd name="connsiteX35" fmla="*/ 265843 w 8451880"/>
              <a:gd name="connsiteY35" fmla="*/ 67056 h 963549"/>
              <a:gd name="connsiteX36" fmla="*/ 159639 w 8451880"/>
              <a:gd name="connsiteY36" fmla="*/ 67056 h 963549"/>
              <a:gd name="connsiteX37" fmla="*/ 71914 w 8451880"/>
              <a:gd name="connsiteY37" fmla="*/ 225457 h 963549"/>
              <a:gd name="connsiteX38" fmla="*/ 71914 w 8451880"/>
              <a:gd name="connsiteY38" fmla="*/ 311753 h 963549"/>
              <a:gd name="connsiteX39" fmla="*/ 121825 w 8451880"/>
              <a:gd name="connsiteY39" fmla="*/ 393192 h 963549"/>
              <a:gd name="connsiteX40" fmla="*/ 160687 w 8451880"/>
              <a:gd name="connsiteY40" fmla="*/ 393192 h 963549"/>
              <a:gd name="connsiteX41" fmla="*/ 173260 w 8451880"/>
              <a:gd name="connsiteY41" fmla="*/ 370332 h 963549"/>
              <a:gd name="connsiteX42" fmla="*/ 416433 w 8451880"/>
              <a:gd name="connsiteY42" fmla="*/ 370332 h 963549"/>
              <a:gd name="connsiteX43" fmla="*/ 465392 w 8451880"/>
              <a:gd name="connsiteY43" fmla="*/ 455676 h 963549"/>
              <a:gd name="connsiteX44" fmla="*/ 465392 w 8451880"/>
              <a:gd name="connsiteY44" fmla="*/ 556736 h 963549"/>
              <a:gd name="connsiteX45" fmla="*/ 500443 w 8451880"/>
              <a:gd name="connsiteY45" fmla="*/ 616839 h 963549"/>
              <a:gd name="connsiteX46" fmla="*/ 500443 w 8451880"/>
              <a:gd name="connsiteY46" fmla="*/ 678275 h 963549"/>
              <a:gd name="connsiteX47" fmla="*/ 563309 w 8451880"/>
              <a:gd name="connsiteY47" fmla="*/ 783527 h 963549"/>
              <a:gd name="connsiteX48" fmla="*/ 563309 w 8451880"/>
              <a:gd name="connsiteY48" fmla="*/ 847344 h 963549"/>
              <a:gd name="connsiteX49" fmla="*/ 594932 w 8451880"/>
              <a:gd name="connsiteY49" fmla="*/ 888492 h 963549"/>
              <a:gd name="connsiteX50" fmla="*/ 609124 w 8451880"/>
              <a:gd name="connsiteY50" fmla="*/ 888492 h 963549"/>
              <a:gd name="connsiteX51" fmla="*/ 628460 w 8451880"/>
              <a:gd name="connsiteY51" fmla="*/ 856488 h 963549"/>
              <a:gd name="connsiteX52" fmla="*/ 628460 w 8451880"/>
              <a:gd name="connsiteY52" fmla="*/ 810292 h 963549"/>
              <a:gd name="connsiteX53" fmla="*/ 717899 w 8451880"/>
              <a:gd name="connsiteY53" fmla="*/ 667226 h 963549"/>
              <a:gd name="connsiteX54" fmla="*/ 718566 w 8451880"/>
              <a:gd name="connsiteY54" fmla="*/ 556165 h 963549"/>
              <a:gd name="connsiteX55" fmla="*/ 790956 w 8451880"/>
              <a:gd name="connsiteY55" fmla="*/ 448056 h 963549"/>
              <a:gd name="connsiteX56" fmla="*/ 843725 w 8451880"/>
              <a:gd name="connsiteY56" fmla="*/ 447770 h 963549"/>
              <a:gd name="connsiteX57" fmla="*/ 861060 w 8451880"/>
              <a:gd name="connsiteY57" fmla="*/ 419957 h 963549"/>
              <a:gd name="connsiteX58" fmla="*/ 767239 w 8451880"/>
              <a:gd name="connsiteY58" fmla="*/ 419957 h 963549"/>
              <a:gd name="connsiteX59" fmla="*/ 691229 w 8451880"/>
              <a:gd name="connsiteY59" fmla="*/ 291370 h 963549"/>
              <a:gd name="connsiteX60" fmla="*/ 689229 w 8451880"/>
              <a:gd name="connsiteY60" fmla="*/ 210407 h 963549"/>
              <a:gd name="connsiteX61" fmla="*/ 640271 w 8451880"/>
              <a:gd name="connsiteY61" fmla="*/ 144399 h 963549"/>
              <a:gd name="connsiteX62" fmla="*/ 532352 w 8451880"/>
              <a:gd name="connsiteY62" fmla="*/ 143447 h 963549"/>
              <a:gd name="connsiteX63" fmla="*/ 483108 w 8451880"/>
              <a:gd name="connsiteY63" fmla="*/ 228410 h 963549"/>
              <a:gd name="connsiteX64" fmla="*/ 271082 w 8451880"/>
              <a:gd name="connsiteY64" fmla="*/ 228410 h 963549"/>
              <a:gd name="connsiteX65" fmla="*/ 227743 w 8451880"/>
              <a:gd name="connsiteY65" fmla="*/ 156782 h 963549"/>
              <a:gd name="connsiteX66" fmla="*/ 200216 w 8451880"/>
              <a:gd name="connsiteY66" fmla="*/ 156782 h 963549"/>
              <a:gd name="connsiteX67" fmla="*/ 152019 w 8451880"/>
              <a:gd name="connsiteY67" fmla="*/ 248126 h 963549"/>
              <a:gd name="connsiteX68" fmla="*/ 150781 w 8451880"/>
              <a:gd name="connsiteY68" fmla="*/ 298990 h 963549"/>
              <a:gd name="connsiteX69" fmla="*/ 153638 w 8451880"/>
              <a:gd name="connsiteY69" fmla="*/ 303562 h 963549"/>
              <a:gd name="connsiteX70" fmla="*/ 157353 w 8451880"/>
              <a:gd name="connsiteY70" fmla="*/ 303467 h 963549"/>
              <a:gd name="connsiteX71" fmla="*/ 161068 w 8451880"/>
              <a:gd name="connsiteY71" fmla="*/ 298990 h 963549"/>
              <a:gd name="connsiteX72" fmla="*/ 525304 w 8451880"/>
              <a:gd name="connsiteY72" fmla="*/ 299180 h 963549"/>
              <a:gd name="connsiteX73" fmla="*/ 578739 w 8451880"/>
              <a:gd name="connsiteY73" fmla="*/ 213741 h 963549"/>
              <a:gd name="connsiteX74" fmla="*/ 607314 w 8451880"/>
              <a:gd name="connsiteY74" fmla="*/ 213741 h 963549"/>
              <a:gd name="connsiteX75" fmla="*/ 629317 w 8451880"/>
              <a:gd name="connsiteY75" fmla="*/ 242697 h 963549"/>
              <a:gd name="connsiteX76" fmla="*/ 629317 w 8451880"/>
              <a:gd name="connsiteY76" fmla="*/ 322326 h 963549"/>
              <a:gd name="connsiteX77" fmla="*/ 704945 w 8451880"/>
              <a:gd name="connsiteY77" fmla="*/ 449294 h 963549"/>
              <a:gd name="connsiteX78" fmla="*/ 648938 w 8451880"/>
              <a:gd name="connsiteY78" fmla="*/ 533400 h 963549"/>
              <a:gd name="connsiteX79" fmla="*/ 647510 w 8451880"/>
              <a:gd name="connsiteY79" fmla="*/ 650558 h 963549"/>
              <a:gd name="connsiteX80" fmla="*/ 603409 w 8451880"/>
              <a:gd name="connsiteY80" fmla="*/ 716852 h 963549"/>
              <a:gd name="connsiteX81" fmla="*/ 563404 w 8451880"/>
              <a:gd name="connsiteY81" fmla="*/ 649700 h 963549"/>
              <a:gd name="connsiteX82" fmla="*/ 563404 w 8451880"/>
              <a:gd name="connsiteY82" fmla="*/ 578644 h 963549"/>
              <a:gd name="connsiteX83" fmla="*/ 537496 w 8451880"/>
              <a:gd name="connsiteY83" fmla="*/ 536258 h 963549"/>
              <a:gd name="connsiteX84" fmla="*/ 537496 w 8451880"/>
              <a:gd name="connsiteY84" fmla="*/ 436721 h 963549"/>
              <a:gd name="connsiteX85" fmla="*/ 498824 w 8451880"/>
              <a:gd name="connsiteY85" fmla="*/ 368999 h 963549"/>
              <a:gd name="connsiteX86" fmla="*/ 581120 w 8451880"/>
              <a:gd name="connsiteY86" fmla="*/ 368999 h 963549"/>
              <a:gd name="connsiteX87" fmla="*/ 627698 w 8451880"/>
              <a:gd name="connsiteY87" fmla="*/ 443579 h 963549"/>
              <a:gd name="connsiteX88" fmla="*/ 592550 w 8451880"/>
              <a:gd name="connsiteY88" fmla="*/ 496729 h 963549"/>
              <a:gd name="connsiteX0" fmla="*/ 14996512 w 14996512"/>
              <a:gd name="connsiteY0" fmla="*/ 19893 h 963549"/>
              <a:gd name="connsiteX1" fmla="*/ 439579 w 14996512"/>
              <a:gd name="connsiteY1" fmla="*/ 0 h 963549"/>
              <a:gd name="connsiteX2" fmla="*/ 399955 w 14996512"/>
              <a:gd name="connsiteY2" fmla="*/ 72009 h 963549"/>
              <a:gd name="connsiteX3" fmla="*/ 351377 w 14996512"/>
              <a:gd name="connsiteY3" fmla="*/ 72390 h 963549"/>
              <a:gd name="connsiteX4" fmla="*/ 307467 w 14996512"/>
              <a:gd name="connsiteY4" fmla="*/ 0 h 963549"/>
              <a:gd name="connsiteX5" fmla="*/ 118967 w 14996512"/>
              <a:gd name="connsiteY5" fmla="*/ 0 h 963549"/>
              <a:gd name="connsiteX6" fmla="*/ 0 w 14996512"/>
              <a:gd name="connsiteY6" fmla="*/ 199739 h 963549"/>
              <a:gd name="connsiteX7" fmla="*/ 0 w 14996512"/>
              <a:gd name="connsiteY7" fmla="*/ 342138 h 963549"/>
              <a:gd name="connsiteX8" fmla="*/ 78296 w 14996512"/>
              <a:gd name="connsiteY8" fmla="*/ 463772 h 963549"/>
              <a:gd name="connsiteX9" fmla="*/ 204216 w 14996512"/>
              <a:gd name="connsiteY9" fmla="*/ 463772 h 963549"/>
              <a:gd name="connsiteX10" fmla="*/ 219647 w 14996512"/>
              <a:gd name="connsiteY10" fmla="*/ 437007 h 963549"/>
              <a:gd name="connsiteX11" fmla="*/ 381000 w 14996512"/>
              <a:gd name="connsiteY11" fmla="*/ 437007 h 963549"/>
              <a:gd name="connsiteX12" fmla="*/ 399288 w 14996512"/>
              <a:gd name="connsiteY12" fmla="*/ 469773 h 963549"/>
              <a:gd name="connsiteX13" fmla="*/ 399288 w 14996512"/>
              <a:gd name="connsiteY13" fmla="*/ 568071 h 963549"/>
              <a:gd name="connsiteX14" fmla="*/ 434245 w 14996512"/>
              <a:gd name="connsiteY14" fmla="*/ 628841 h 963549"/>
              <a:gd name="connsiteX15" fmla="*/ 434054 w 14996512"/>
              <a:gd name="connsiteY15" fmla="*/ 693325 h 963549"/>
              <a:gd name="connsiteX16" fmla="*/ 492728 w 14996512"/>
              <a:gd name="connsiteY16" fmla="*/ 800005 h 963549"/>
              <a:gd name="connsiteX17" fmla="*/ 492728 w 14996512"/>
              <a:gd name="connsiteY17" fmla="*/ 884873 h 963549"/>
              <a:gd name="connsiteX18" fmla="*/ 559118 w 14996512"/>
              <a:gd name="connsiteY18" fmla="*/ 962978 h 963549"/>
              <a:gd name="connsiteX19" fmla="*/ 645414 w 14996512"/>
              <a:gd name="connsiteY19" fmla="*/ 963549 h 963549"/>
              <a:gd name="connsiteX20" fmla="*/ 688372 w 14996512"/>
              <a:gd name="connsiteY20" fmla="*/ 892112 h 963549"/>
              <a:gd name="connsiteX21" fmla="*/ 688372 w 14996512"/>
              <a:gd name="connsiteY21" fmla="*/ 837914 h 963549"/>
              <a:gd name="connsiteX22" fmla="*/ 784479 w 14996512"/>
              <a:gd name="connsiteY22" fmla="*/ 687229 h 963549"/>
              <a:gd name="connsiteX23" fmla="*/ 784479 w 14996512"/>
              <a:gd name="connsiteY23" fmla="*/ 586169 h 963549"/>
              <a:gd name="connsiteX24" fmla="*/ 831152 w 14996512"/>
              <a:gd name="connsiteY24" fmla="*/ 512636 h 963549"/>
              <a:gd name="connsiteX25" fmla="*/ 886968 w 14996512"/>
              <a:gd name="connsiteY25" fmla="*/ 513207 h 963549"/>
              <a:gd name="connsiteX26" fmla="*/ 979075 w 14996512"/>
              <a:gd name="connsiteY26" fmla="*/ 352139 h 963549"/>
              <a:gd name="connsiteX27" fmla="*/ 809530 w 14996512"/>
              <a:gd name="connsiteY27" fmla="*/ 352139 h 963549"/>
              <a:gd name="connsiteX28" fmla="*/ 761333 w 14996512"/>
              <a:gd name="connsiteY28" fmla="*/ 269367 h 963549"/>
              <a:gd name="connsiteX29" fmla="*/ 761429 w 14996512"/>
              <a:gd name="connsiteY29" fmla="*/ 189357 h 963549"/>
              <a:gd name="connsiteX30" fmla="*/ 681419 w 14996512"/>
              <a:gd name="connsiteY30" fmla="*/ 77438 h 963549"/>
              <a:gd name="connsiteX31" fmla="*/ 655511 w 14996512"/>
              <a:gd name="connsiteY31" fmla="*/ 77438 h 963549"/>
              <a:gd name="connsiteX32" fmla="*/ 487299 w 14996512"/>
              <a:gd name="connsiteY32" fmla="*/ 77438 h 963549"/>
              <a:gd name="connsiteX33" fmla="*/ 443293 w 14996512"/>
              <a:gd name="connsiteY33" fmla="*/ 153448 h 963549"/>
              <a:gd name="connsiteX34" fmla="*/ 316421 w 14996512"/>
              <a:gd name="connsiteY34" fmla="*/ 153448 h 963549"/>
              <a:gd name="connsiteX35" fmla="*/ 265843 w 14996512"/>
              <a:gd name="connsiteY35" fmla="*/ 67056 h 963549"/>
              <a:gd name="connsiteX36" fmla="*/ 159639 w 14996512"/>
              <a:gd name="connsiteY36" fmla="*/ 67056 h 963549"/>
              <a:gd name="connsiteX37" fmla="*/ 71914 w 14996512"/>
              <a:gd name="connsiteY37" fmla="*/ 225457 h 963549"/>
              <a:gd name="connsiteX38" fmla="*/ 71914 w 14996512"/>
              <a:gd name="connsiteY38" fmla="*/ 311753 h 963549"/>
              <a:gd name="connsiteX39" fmla="*/ 121825 w 14996512"/>
              <a:gd name="connsiteY39" fmla="*/ 393192 h 963549"/>
              <a:gd name="connsiteX40" fmla="*/ 160687 w 14996512"/>
              <a:gd name="connsiteY40" fmla="*/ 393192 h 963549"/>
              <a:gd name="connsiteX41" fmla="*/ 173260 w 14996512"/>
              <a:gd name="connsiteY41" fmla="*/ 370332 h 963549"/>
              <a:gd name="connsiteX42" fmla="*/ 416433 w 14996512"/>
              <a:gd name="connsiteY42" fmla="*/ 370332 h 963549"/>
              <a:gd name="connsiteX43" fmla="*/ 465392 w 14996512"/>
              <a:gd name="connsiteY43" fmla="*/ 455676 h 963549"/>
              <a:gd name="connsiteX44" fmla="*/ 465392 w 14996512"/>
              <a:gd name="connsiteY44" fmla="*/ 556736 h 963549"/>
              <a:gd name="connsiteX45" fmla="*/ 500443 w 14996512"/>
              <a:gd name="connsiteY45" fmla="*/ 616839 h 963549"/>
              <a:gd name="connsiteX46" fmla="*/ 500443 w 14996512"/>
              <a:gd name="connsiteY46" fmla="*/ 678275 h 963549"/>
              <a:gd name="connsiteX47" fmla="*/ 563309 w 14996512"/>
              <a:gd name="connsiteY47" fmla="*/ 783527 h 963549"/>
              <a:gd name="connsiteX48" fmla="*/ 563309 w 14996512"/>
              <a:gd name="connsiteY48" fmla="*/ 847344 h 963549"/>
              <a:gd name="connsiteX49" fmla="*/ 594932 w 14996512"/>
              <a:gd name="connsiteY49" fmla="*/ 888492 h 963549"/>
              <a:gd name="connsiteX50" fmla="*/ 609124 w 14996512"/>
              <a:gd name="connsiteY50" fmla="*/ 888492 h 963549"/>
              <a:gd name="connsiteX51" fmla="*/ 628460 w 14996512"/>
              <a:gd name="connsiteY51" fmla="*/ 856488 h 963549"/>
              <a:gd name="connsiteX52" fmla="*/ 628460 w 14996512"/>
              <a:gd name="connsiteY52" fmla="*/ 810292 h 963549"/>
              <a:gd name="connsiteX53" fmla="*/ 717899 w 14996512"/>
              <a:gd name="connsiteY53" fmla="*/ 667226 h 963549"/>
              <a:gd name="connsiteX54" fmla="*/ 718566 w 14996512"/>
              <a:gd name="connsiteY54" fmla="*/ 556165 h 963549"/>
              <a:gd name="connsiteX55" fmla="*/ 790956 w 14996512"/>
              <a:gd name="connsiteY55" fmla="*/ 448056 h 963549"/>
              <a:gd name="connsiteX56" fmla="*/ 843725 w 14996512"/>
              <a:gd name="connsiteY56" fmla="*/ 447770 h 963549"/>
              <a:gd name="connsiteX57" fmla="*/ 861060 w 14996512"/>
              <a:gd name="connsiteY57" fmla="*/ 419957 h 963549"/>
              <a:gd name="connsiteX58" fmla="*/ 767239 w 14996512"/>
              <a:gd name="connsiteY58" fmla="*/ 419957 h 963549"/>
              <a:gd name="connsiteX59" fmla="*/ 691229 w 14996512"/>
              <a:gd name="connsiteY59" fmla="*/ 291370 h 963549"/>
              <a:gd name="connsiteX60" fmla="*/ 689229 w 14996512"/>
              <a:gd name="connsiteY60" fmla="*/ 210407 h 963549"/>
              <a:gd name="connsiteX61" fmla="*/ 640271 w 14996512"/>
              <a:gd name="connsiteY61" fmla="*/ 144399 h 963549"/>
              <a:gd name="connsiteX62" fmla="*/ 532352 w 14996512"/>
              <a:gd name="connsiteY62" fmla="*/ 143447 h 963549"/>
              <a:gd name="connsiteX63" fmla="*/ 483108 w 14996512"/>
              <a:gd name="connsiteY63" fmla="*/ 228410 h 963549"/>
              <a:gd name="connsiteX64" fmla="*/ 271082 w 14996512"/>
              <a:gd name="connsiteY64" fmla="*/ 228410 h 963549"/>
              <a:gd name="connsiteX65" fmla="*/ 227743 w 14996512"/>
              <a:gd name="connsiteY65" fmla="*/ 156782 h 963549"/>
              <a:gd name="connsiteX66" fmla="*/ 200216 w 14996512"/>
              <a:gd name="connsiteY66" fmla="*/ 156782 h 963549"/>
              <a:gd name="connsiteX67" fmla="*/ 152019 w 14996512"/>
              <a:gd name="connsiteY67" fmla="*/ 248126 h 963549"/>
              <a:gd name="connsiteX68" fmla="*/ 150781 w 14996512"/>
              <a:gd name="connsiteY68" fmla="*/ 298990 h 963549"/>
              <a:gd name="connsiteX69" fmla="*/ 153638 w 14996512"/>
              <a:gd name="connsiteY69" fmla="*/ 303562 h 963549"/>
              <a:gd name="connsiteX70" fmla="*/ 157353 w 14996512"/>
              <a:gd name="connsiteY70" fmla="*/ 303467 h 963549"/>
              <a:gd name="connsiteX71" fmla="*/ 161068 w 14996512"/>
              <a:gd name="connsiteY71" fmla="*/ 298990 h 963549"/>
              <a:gd name="connsiteX72" fmla="*/ 525304 w 14996512"/>
              <a:gd name="connsiteY72" fmla="*/ 299180 h 963549"/>
              <a:gd name="connsiteX73" fmla="*/ 578739 w 14996512"/>
              <a:gd name="connsiteY73" fmla="*/ 213741 h 963549"/>
              <a:gd name="connsiteX74" fmla="*/ 607314 w 14996512"/>
              <a:gd name="connsiteY74" fmla="*/ 213741 h 963549"/>
              <a:gd name="connsiteX75" fmla="*/ 629317 w 14996512"/>
              <a:gd name="connsiteY75" fmla="*/ 242697 h 963549"/>
              <a:gd name="connsiteX76" fmla="*/ 629317 w 14996512"/>
              <a:gd name="connsiteY76" fmla="*/ 322326 h 963549"/>
              <a:gd name="connsiteX77" fmla="*/ 704945 w 14996512"/>
              <a:gd name="connsiteY77" fmla="*/ 449294 h 963549"/>
              <a:gd name="connsiteX78" fmla="*/ 648938 w 14996512"/>
              <a:gd name="connsiteY78" fmla="*/ 533400 h 963549"/>
              <a:gd name="connsiteX79" fmla="*/ 647510 w 14996512"/>
              <a:gd name="connsiteY79" fmla="*/ 650558 h 963549"/>
              <a:gd name="connsiteX80" fmla="*/ 603409 w 14996512"/>
              <a:gd name="connsiteY80" fmla="*/ 716852 h 963549"/>
              <a:gd name="connsiteX81" fmla="*/ 563404 w 14996512"/>
              <a:gd name="connsiteY81" fmla="*/ 649700 h 963549"/>
              <a:gd name="connsiteX82" fmla="*/ 563404 w 14996512"/>
              <a:gd name="connsiteY82" fmla="*/ 578644 h 963549"/>
              <a:gd name="connsiteX83" fmla="*/ 537496 w 14996512"/>
              <a:gd name="connsiteY83" fmla="*/ 536258 h 963549"/>
              <a:gd name="connsiteX84" fmla="*/ 537496 w 14996512"/>
              <a:gd name="connsiteY84" fmla="*/ 436721 h 963549"/>
              <a:gd name="connsiteX85" fmla="*/ 498824 w 14996512"/>
              <a:gd name="connsiteY85" fmla="*/ 368999 h 963549"/>
              <a:gd name="connsiteX86" fmla="*/ 581120 w 14996512"/>
              <a:gd name="connsiteY86" fmla="*/ 368999 h 963549"/>
              <a:gd name="connsiteX87" fmla="*/ 627698 w 14996512"/>
              <a:gd name="connsiteY87" fmla="*/ 443579 h 963549"/>
              <a:gd name="connsiteX88" fmla="*/ 592550 w 14996512"/>
              <a:gd name="connsiteY88" fmla="*/ 496729 h 963549"/>
              <a:gd name="connsiteX0" fmla="*/ 15115867 w 15115867"/>
              <a:gd name="connsiteY0" fmla="*/ 0 h 1023226"/>
              <a:gd name="connsiteX1" fmla="*/ 439579 w 15115867"/>
              <a:gd name="connsiteY1" fmla="*/ 59677 h 1023226"/>
              <a:gd name="connsiteX2" fmla="*/ 399955 w 15115867"/>
              <a:gd name="connsiteY2" fmla="*/ 131686 h 1023226"/>
              <a:gd name="connsiteX3" fmla="*/ 351377 w 15115867"/>
              <a:gd name="connsiteY3" fmla="*/ 132067 h 1023226"/>
              <a:gd name="connsiteX4" fmla="*/ 307467 w 15115867"/>
              <a:gd name="connsiteY4" fmla="*/ 59677 h 1023226"/>
              <a:gd name="connsiteX5" fmla="*/ 118967 w 15115867"/>
              <a:gd name="connsiteY5" fmla="*/ 59677 h 1023226"/>
              <a:gd name="connsiteX6" fmla="*/ 0 w 15115867"/>
              <a:gd name="connsiteY6" fmla="*/ 259416 h 1023226"/>
              <a:gd name="connsiteX7" fmla="*/ 0 w 15115867"/>
              <a:gd name="connsiteY7" fmla="*/ 401815 h 1023226"/>
              <a:gd name="connsiteX8" fmla="*/ 78296 w 15115867"/>
              <a:gd name="connsiteY8" fmla="*/ 523449 h 1023226"/>
              <a:gd name="connsiteX9" fmla="*/ 204216 w 15115867"/>
              <a:gd name="connsiteY9" fmla="*/ 523449 h 1023226"/>
              <a:gd name="connsiteX10" fmla="*/ 219647 w 15115867"/>
              <a:gd name="connsiteY10" fmla="*/ 496684 h 1023226"/>
              <a:gd name="connsiteX11" fmla="*/ 381000 w 15115867"/>
              <a:gd name="connsiteY11" fmla="*/ 496684 h 1023226"/>
              <a:gd name="connsiteX12" fmla="*/ 399288 w 15115867"/>
              <a:gd name="connsiteY12" fmla="*/ 529450 h 1023226"/>
              <a:gd name="connsiteX13" fmla="*/ 399288 w 15115867"/>
              <a:gd name="connsiteY13" fmla="*/ 627748 h 1023226"/>
              <a:gd name="connsiteX14" fmla="*/ 434245 w 15115867"/>
              <a:gd name="connsiteY14" fmla="*/ 688518 h 1023226"/>
              <a:gd name="connsiteX15" fmla="*/ 434054 w 15115867"/>
              <a:gd name="connsiteY15" fmla="*/ 753002 h 1023226"/>
              <a:gd name="connsiteX16" fmla="*/ 492728 w 15115867"/>
              <a:gd name="connsiteY16" fmla="*/ 859682 h 1023226"/>
              <a:gd name="connsiteX17" fmla="*/ 492728 w 15115867"/>
              <a:gd name="connsiteY17" fmla="*/ 944550 h 1023226"/>
              <a:gd name="connsiteX18" fmla="*/ 559118 w 15115867"/>
              <a:gd name="connsiteY18" fmla="*/ 1022655 h 1023226"/>
              <a:gd name="connsiteX19" fmla="*/ 645414 w 15115867"/>
              <a:gd name="connsiteY19" fmla="*/ 1023226 h 1023226"/>
              <a:gd name="connsiteX20" fmla="*/ 688372 w 15115867"/>
              <a:gd name="connsiteY20" fmla="*/ 951789 h 1023226"/>
              <a:gd name="connsiteX21" fmla="*/ 688372 w 15115867"/>
              <a:gd name="connsiteY21" fmla="*/ 897591 h 1023226"/>
              <a:gd name="connsiteX22" fmla="*/ 784479 w 15115867"/>
              <a:gd name="connsiteY22" fmla="*/ 746906 h 1023226"/>
              <a:gd name="connsiteX23" fmla="*/ 784479 w 15115867"/>
              <a:gd name="connsiteY23" fmla="*/ 645846 h 1023226"/>
              <a:gd name="connsiteX24" fmla="*/ 831152 w 15115867"/>
              <a:gd name="connsiteY24" fmla="*/ 572313 h 1023226"/>
              <a:gd name="connsiteX25" fmla="*/ 886968 w 15115867"/>
              <a:gd name="connsiteY25" fmla="*/ 572884 h 1023226"/>
              <a:gd name="connsiteX26" fmla="*/ 979075 w 15115867"/>
              <a:gd name="connsiteY26" fmla="*/ 411816 h 1023226"/>
              <a:gd name="connsiteX27" fmla="*/ 809530 w 15115867"/>
              <a:gd name="connsiteY27" fmla="*/ 411816 h 1023226"/>
              <a:gd name="connsiteX28" fmla="*/ 761333 w 15115867"/>
              <a:gd name="connsiteY28" fmla="*/ 329044 h 1023226"/>
              <a:gd name="connsiteX29" fmla="*/ 761429 w 15115867"/>
              <a:gd name="connsiteY29" fmla="*/ 249034 h 1023226"/>
              <a:gd name="connsiteX30" fmla="*/ 681419 w 15115867"/>
              <a:gd name="connsiteY30" fmla="*/ 137115 h 1023226"/>
              <a:gd name="connsiteX31" fmla="*/ 655511 w 15115867"/>
              <a:gd name="connsiteY31" fmla="*/ 137115 h 1023226"/>
              <a:gd name="connsiteX32" fmla="*/ 487299 w 15115867"/>
              <a:gd name="connsiteY32" fmla="*/ 137115 h 1023226"/>
              <a:gd name="connsiteX33" fmla="*/ 443293 w 15115867"/>
              <a:gd name="connsiteY33" fmla="*/ 213125 h 1023226"/>
              <a:gd name="connsiteX34" fmla="*/ 316421 w 15115867"/>
              <a:gd name="connsiteY34" fmla="*/ 213125 h 1023226"/>
              <a:gd name="connsiteX35" fmla="*/ 265843 w 15115867"/>
              <a:gd name="connsiteY35" fmla="*/ 126733 h 1023226"/>
              <a:gd name="connsiteX36" fmla="*/ 159639 w 15115867"/>
              <a:gd name="connsiteY36" fmla="*/ 126733 h 1023226"/>
              <a:gd name="connsiteX37" fmla="*/ 71914 w 15115867"/>
              <a:gd name="connsiteY37" fmla="*/ 285134 h 1023226"/>
              <a:gd name="connsiteX38" fmla="*/ 71914 w 15115867"/>
              <a:gd name="connsiteY38" fmla="*/ 371430 h 1023226"/>
              <a:gd name="connsiteX39" fmla="*/ 121825 w 15115867"/>
              <a:gd name="connsiteY39" fmla="*/ 452869 h 1023226"/>
              <a:gd name="connsiteX40" fmla="*/ 160687 w 15115867"/>
              <a:gd name="connsiteY40" fmla="*/ 452869 h 1023226"/>
              <a:gd name="connsiteX41" fmla="*/ 173260 w 15115867"/>
              <a:gd name="connsiteY41" fmla="*/ 430009 h 1023226"/>
              <a:gd name="connsiteX42" fmla="*/ 416433 w 15115867"/>
              <a:gd name="connsiteY42" fmla="*/ 430009 h 1023226"/>
              <a:gd name="connsiteX43" fmla="*/ 465392 w 15115867"/>
              <a:gd name="connsiteY43" fmla="*/ 515353 h 1023226"/>
              <a:gd name="connsiteX44" fmla="*/ 465392 w 15115867"/>
              <a:gd name="connsiteY44" fmla="*/ 616413 h 1023226"/>
              <a:gd name="connsiteX45" fmla="*/ 500443 w 15115867"/>
              <a:gd name="connsiteY45" fmla="*/ 676516 h 1023226"/>
              <a:gd name="connsiteX46" fmla="*/ 500443 w 15115867"/>
              <a:gd name="connsiteY46" fmla="*/ 737952 h 1023226"/>
              <a:gd name="connsiteX47" fmla="*/ 563309 w 15115867"/>
              <a:gd name="connsiteY47" fmla="*/ 843204 h 1023226"/>
              <a:gd name="connsiteX48" fmla="*/ 563309 w 15115867"/>
              <a:gd name="connsiteY48" fmla="*/ 907021 h 1023226"/>
              <a:gd name="connsiteX49" fmla="*/ 594932 w 15115867"/>
              <a:gd name="connsiteY49" fmla="*/ 948169 h 1023226"/>
              <a:gd name="connsiteX50" fmla="*/ 609124 w 15115867"/>
              <a:gd name="connsiteY50" fmla="*/ 948169 h 1023226"/>
              <a:gd name="connsiteX51" fmla="*/ 628460 w 15115867"/>
              <a:gd name="connsiteY51" fmla="*/ 916165 h 1023226"/>
              <a:gd name="connsiteX52" fmla="*/ 628460 w 15115867"/>
              <a:gd name="connsiteY52" fmla="*/ 869969 h 1023226"/>
              <a:gd name="connsiteX53" fmla="*/ 717899 w 15115867"/>
              <a:gd name="connsiteY53" fmla="*/ 726903 h 1023226"/>
              <a:gd name="connsiteX54" fmla="*/ 718566 w 15115867"/>
              <a:gd name="connsiteY54" fmla="*/ 615842 h 1023226"/>
              <a:gd name="connsiteX55" fmla="*/ 790956 w 15115867"/>
              <a:gd name="connsiteY55" fmla="*/ 507733 h 1023226"/>
              <a:gd name="connsiteX56" fmla="*/ 843725 w 15115867"/>
              <a:gd name="connsiteY56" fmla="*/ 507447 h 1023226"/>
              <a:gd name="connsiteX57" fmla="*/ 861060 w 15115867"/>
              <a:gd name="connsiteY57" fmla="*/ 479634 h 1023226"/>
              <a:gd name="connsiteX58" fmla="*/ 767239 w 15115867"/>
              <a:gd name="connsiteY58" fmla="*/ 479634 h 1023226"/>
              <a:gd name="connsiteX59" fmla="*/ 691229 w 15115867"/>
              <a:gd name="connsiteY59" fmla="*/ 351047 h 1023226"/>
              <a:gd name="connsiteX60" fmla="*/ 689229 w 15115867"/>
              <a:gd name="connsiteY60" fmla="*/ 270084 h 1023226"/>
              <a:gd name="connsiteX61" fmla="*/ 640271 w 15115867"/>
              <a:gd name="connsiteY61" fmla="*/ 204076 h 1023226"/>
              <a:gd name="connsiteX62" fmla="*/ 532352 w 15115867"/>
              <a:gd name="connsiteY62" fmla="*/ 203124 h 1023226"/>
              <a:gd name="connsiteX63" fmla="*/ 483108 w 15115867"/>
              <a:gd name="connsiteY63" fmla="*/ 288087 h 1023226"/>
              <a:gd name="connsiteX64" fmla="*/ 271082 w 15115867"/>
              <a:gd name="connsiteY64" fmla="*/ 288087 h 1023226"/>
              <a:gd name="connsiteX65" fmla="*/ 227743 w 15115867"/>
              <a:gd name="connsiteY65" fmla="*/ 216459 h 1023226"/>
              <a:gd name="connsiteX66" fmla="*/ 200216 w 15115867"/>
              <a:gd name="connsiteY66" fmla="*/ 216459 h 1023226"/>
              <a:gd name="connsiteX67" fmla="*/ 152019 w 15115867"/>
              <a:gd name="connsiteY67" fmla="*/ 307803 h 1023226"/>
              <a:gd name="connsiteX68" fmla="*/ 150781 w 15115867"/>
              <a:gd name="connsiteY68" fmla="*/ 358667 h 1023226"/>
              <a:gd name="connsiteX69" fmla="*/ 153638 w 15115867"/>
              <a:gd name="connsiteY69" fmla="*/ 363239 h 1023226"/>
              <a:gd name="connsiteX70" fmla="*/ 157353 w 15115867"/>
              <a:gd name="connsiteY70" fmla="*/ 363144 h 1023226"/>
              <a:gd name="connsiteX71" fmla="*/ 161068 w 15115867"/>
              <a:gd name="connsiteY71" fmla="*/ 358667 h 1023226"/>
              <a:gd name="connsiteX72" fmla="*/ 525304 w 15115867"/>
              <a:gd name="connsiteY72" fmla="*/ 358857 h 1023226"/>
              <a:gd name="connsiteX73" fmla="*/ 578739 w 15115867"/>
              <a:gd name="connsiteY73" fmla="*/ 273418 h 1023226"/>
              <a:gd name="connsiteX74" fmla="*/ 607314 w 15115867"/>
              <a:gd name="connsiteY74" fmla="*/ 273418 h 1023226"/>
              <a:gd name="connsiteX75" fmla="*/ 629317 w 15115867"/>
              <a:gd name="connsiteY75" fmla="*/ 302374 h 1023226"/>
              <a:gd name="connsiteX76" fmla="*/ 629317 w 15115867"/>
              <a:gd name="connsiteY76" fmla="*/ 382003 h 1023226"/>
              <a:gd name="connsiteX77" fmla="*/ 704945 w 15115867"/>
              <a:gd name="connsiteY77" fmla="*/ 508971 h 1023226"/>
              <a:gd name="connsiteX78" fmla="*/ 648938 w 15115867"/>
              <a:gd name="connsiteY78" fmla="*/ 593077 h 1023226"/>
              <a:gd name="connsiteX79" fmla="*/ 647510 w 15115867"/>
              <a:gd name="connsiteY79" fmla="*/ 710235 h 1023226"/>
              <a:gd name="connsiteX80" fmla="*/ 603409 w 15115867"/>
              <a:gd name="connsiteY80" fmla="*/ 776529 h 1023226"/>
              <a:gd name="connsiteX81" fmla="*/ 563404 w 15115867"/>
              <a:gd name="connsiteY81" fmla="*/ 709377 h 1023226"/>
              <a:gd name="connsiteX82" fmla="*/ 563404 w 15115867"/>
              <a:gd name="connsiteY82" fmla="*/ 638321 h 1023226"/>
              <a:gd name="connsiteX83" fmla="*/ 537496 w 15115867"/>
              <a:gd name="connsiteY83" fmla="*/ 595935 h 1023226"/>
              <a:gd name="connsiteX84" fmla="*/ 537496 w 15115867"/>
              <a:gd name="connsiteY84" fmla="*/ 496398 h 1023226"/>
              <a:gd name="connsiteX85" fmla="*/ 498824 w 15115867"/>
              <a:gd name="connsiteY85" fmla="*/ 428676 h 1023226"/>
              <a:gd name="connsiteX86" fmla="*/ 581120 w 15115867"/>
              <a:gd name="connsiteY86" fmla="*/ 428676 h 1023226"/>
              <a:gd name="connsiteX87" fmla="*/ 627698 w 15115867"/>
              <a:gd name="connsiteY87" fmla="*/ 503256 h 1023226"/>
              <a:gd name="connsiteX88" fmla="*/ 592550 w 15115867"/>
              <a:gd name="connsiteY88" fmla="*/ 556406 h 1023226"/>
              <a:gd name="connsiteX0" fmla="*/ 15083451 w 15083451"/>
              <a:gd name="connsiteY0" fmla="*/ 5158 h 963549"/>
              <a:gd name="connsiteX1" fmla="*/ 439579 w 15083451"/>
              <a:gd name="connsiteY1" fmla="*/ 0 h 963549"/>
              <a:gd name="connsiteX2" fmla="*/ 399955 w 15083451"/>
              <a:gd name="connsiteY2" fmla="*/ 72009 h 963549"/>
              <a:gd name="connsiteX3" fmla="*/ 351377 w 15083451"/>
              <a:gd name="connsiteY3" fmla="*/ 72390 h 963549"/>
              <a:gd name="connsiteX4" fmla="*/ 307467 w 15083451"/>
              <a:gd name="connsiteY4" fmla="*/ 0 h 963549"/>
              <a:gd name="connsiteX5" fmla="*/ 118967 w 15083451"/>
              <a:gd name="connsiteY5" fmla="*/ 0 h 963549"/>
              <a:gd name="connsiteX6" fmla="*/ 0 w 15083451"/>
              <a:gd name="connsiteY6" fmla="*/ 199739 h 963549"/>
              <a:gd name="connsiteX7" fmla="*/ 0 w 15083451"/>
              <a:gd name="connsiteY7" fmla="*/ 342138 h 963549"/>
              <a:gd name="connsiteX8" fmla="*/ 78296 w 15083451"/>
              <a:gd name="connsiteY8" fmla="*/ 463772 h 963549"/>
              <a:gd name="connsiteX9" fmla="*/ 204216 w 15083451"/>
              <a:gd name="connsiteY9" fmla="*/ 463772 h 963549"/>
              <a:gd name="connsiteX10" fmla="*/ 219647 w 15083451"/>
              <a:gd name="connsiteY10" fmla="*/ 437007 h 963549"/>
              <a:gd name="connsiteX11" fmla="*/ 381000 w 15083451"/>
              <a:gd name="connsiteY11" fmla="*/ 437007 h 963549"/>
              <a:gd name="connsiteX12" fmla="*/ 399288 w 15083451"/>
              <a:gd name="connsiteY12" fmla="*/ 469773 h 963549"/>
              <a:gd name="connsiteX13" fmla="*/ 399288 w 15083451"/>
              <a:gd name="connsiteY13" fmla="*/ 568071 h 963549"/>
              <a:gd name="connsiteX14" fmla="*/ 434245 w 15083451"/>
              <a:gd name="connsiteY14" fmla="*/ 628841 h 963549"/>
              <a:gd name="connsiteX15" fmla="*/ 434054 w 15083451"/>
              <a:gd name="connsiteY15" fmla="*/ 693325 h 963549"/>
              <a:gd name="connsiteX16" fmla="*/ 492728 w 15083451"/>
              <a:gd name="connsiteY16" fmla="*/ 800005 h 963549"/>
              <a:gd name="connsiteX17" fmla="*/ 492728 w 15083451"/>
              <a:gd name="connsiteY17" fmla="*/ 884873 h 963549"/>
              <a:gd name="connsiteX18" fmla="*/ 559118 w 15083451"/>
              <a:gd name="connsiteY18" fmla="*/ 962978 h 963549"/>
              <a:gd name="connsiteX19" fmla="*/ 645414 w 15083451"/>
              <a:gd name="connsiteY19" fmla="*/ 963549 h 963549"/>
              <a:gd name="connsiteX20" fmla="*/ 688372 w 15083451"/>
              <a:gd name="connsiteY20" fmla="*/ 892112 h 963549"/>
              <a:gd name="connsiteX21" fmla="*/ 688372 w 15083451"/>
              <a:gd name="connsiteY21" fmla="*/ 837914 h 963549"/>
              <a:gd name="connsiteX22" fmla="*/ 784479 w 15083451"/>
              <a:gd name="connsiteY22" fmla="*/ 687229 h 963549"/>
              <a:gd name="connsiteX23" fmla="*/ 784479 w 15083451"/>
              <a:gd name="connsiteY23" fmla="*/ 586169 h 963549"/>
              <a:gd name="connsiteX24" fmla="*/ 831152 w 15083451"/>
              <a:gd name="connsiteY24" fmla="*/ 512636 h 963549"/>
              <a:gd name="connsiteX25" fmla="*/ 886968 w 15083451"/>
              <a:gd name="connsiteY25" fmla="*/ 513207 h 963549"/>
              <a:gd name="connsiteX26" fmla="*/ 979075 w 15083451"/>
              <a:gd name="connsiteY26" fmla="*/ 352139 h 963549"/>
              <a:gd name="connsiteX27" fmla="*/ 809530 w 15083451"/>
              <a:gd name="connsiteY27" fmla="*/ 352139 h 963549"/>
              <a:gd name="connsiteX28" fmla="*/ 761333 w 15083451"/>
              <a:gd name="connsiteY28" fmla="*/ 269367 h 963549"/>
              <a:gd name="connsiteX29" fmla="*/ 761429 w 15083451"/>
              <a:gd name="connsiteY29" fmla="*/ 189357 h 963549"/>
              <a:gd name="connsiteX30" fmla="*/ 681419 w 15083451"/>
              <a:gd name="connsiteY30" fmla="*/ 77438 h 963549"/>
              <a:gd name="connsiteX31" fmla="*/ 655511 w 15083451"/>
              <a:gd name="connsiteY31" fmla="*/ 77438 h 963549"/>
              <a:gd name="connsiteX32" fmla="*/ 487299 w 15083451"/>
              <a:gd name="connsiteY32" fmla="*/ 77438 h 963549"/>
              <a:gd name="connsiteX33" fmla="*/ 443293 w 15083451"/>
              <a:gd name="connsiteY33" fmla="*/ 153448 h 963549"/>
              <a:gd name="connsiteX34" fmla="*/ 316421 w 15083451"/>
              <a:gd name="connsiteY34" fmla="*/ 153448 h 963549"/>
              <a:gd name="connsiteX35" fmla="*/ 265843 w 15083451"/>
              <a:gd name="connsiteY35" fmla="*/ 67056 h 963549"/>
              <a:gd name="connsiteX36" fmla="*/ 159639 w 15083451"/>
              <a:gd name="connsiteY36" fmla="*/ 67056 h 963549"/>
              <a:gd name="connsiteX37" fmla="*/ 71914 w 15083451"/>
              <a:gd name="connsiteY37" fmla="*/ 225457 h 963549"/>
              <a:gd name="connsiteX38" fmla="*/ 71914 w 15083451"/>
              <a:gd name="connsiteY38" fmla="*/ 311753 h 963549"/>
              <a:gd name="connsiteX39" fmla="*/ 121825 w 15083451"/>
              <a:gd name="connsiteY39" fmla="*/ 393192 h 963549"/>
              <a:gd name="connsiteX40" fmla="*/ 160687 w 15083451"/>
              <a:gd name="connsiteY40" fmla="*/ 393192 h 963549"/>
              <a:gd name="connsiteX41" fmla="*/ 173260 w 15083451"/>
              <a:gd name="connsiteY41" fmla="*/ 370332 h 963549"/>
              <a:gd name="connsiteX42" fmla="*/ 416433 w 15083451"/>
              <a:gd name="connsiteY42" fmla="*/ 370332 h 963549"/>
              <a:gd name="connsiteX43" fmla="*/ 465392 w 15083451"/>
              <a:gd name="connsiteY43" fmla="*/ 455676 h 963549"/>
              <a:gd name="connsiteX44" fmla="*/ 465392 w 15083451"/>
              <a:gd name="connsiteY44" fmla="*/ 556736 h 963549"/>
              <a:gd name="connsiteX45" fmla="*/ 500443 w 15083451"/>
              <a:gd name="connsiteY45" fmla="*/ 616839 h 963549"/>
              <a:gd name="connsiteX46" fmla="*/ 500443 w 15083451"/>
              <a:gd name="connsiteY46" fmla="*/ 678275 h 963549"/>
              <a:gd name="connsiteX47" fmla="*/ 563309 w 15083451"/>
              <a:gd name="connsiteY47" fmla="*/ 783527 h 963549"/>
              <a:gd name="connsiteX48" fmla="*/ 563309 w 15083451"/>
              <a:gd name="connsiteY48" fmla="*/ 847344 h 963549"/>
              <a:gd name="connsiteX49" fmla="*/ 594932 w 15083451"/>
              <a:gd name="connsiteY49" fmla="*/ 888492 h 963549"/>
              <a:gd name="connsiteX50" fmla="*/ 609124 w 15083451"/>
              <a:gd name="connsiteY50" fmla="*/ 888492 h 963549"/>
              <a:gd name="connsiteX51" fmla="*/ 628460 w 15083451"/>
              <a:gd name="connsiteY51" fmla="*/ 856488 h 963549"/>
              <a:gd name="connsiteX52" fmla="*/ 628460 w 15083451"/>
              <a:gd name="connsiteY52" fmla="*/ 810292 h 963549"/>
              <a:gd name="connsiteX53" fmla="*/ 717899 w 15083451"/>
              <a:gd name="connsiteY53" fmla="*/ 667226 h 963549"/>
              <a:gd name="connsiteX54" fmla="*/ 718566 w 15083451"/>
              <a:gd name="connsiteY54" fmla="*/ 556165 h 963549"/>
              <a:gd name="connsiteX55" fmla="*/ 790956 w 15083451"/>
              <a:gd name="connsiteY55" fmla="*/ 448056 h 963549"/>
              <a:gd name="connsiteX56" fmla="*/ 843725 w 15083451"/>
              <a:gd name="connsiteY56" fmla="*/ 447770 h 963549"/>
              <a:gd name="connsiteX57" fmla="*/ 861060 w 15083451"/>
              <a:gd name="connsiteY57" fmla="*/ 419957 h 963549"/>
              <a:gd name="connsiteX58" fmla="*/ 767239 w 15083451"/>
              <a:gd name="connsiteY58" fmla="*/ 419957 h 963549"/>
              <a:gd name="connsiteX59" fmla="*/ 691229 w 15083451"/>
              <a:gd name="connsiteY59" fmla="*/ 291370 h 963549"/>
              <a:gd name="connsiteX60" fmla="*/ 689229 w 15083451"/>
              <a:gd name="connsiteY60" fmla="*/ 210407 h 963549"/>
              <a:gd name="connsiteX61" fmla="*/ 640271 w 15083451"/>
              <a:gd name="connsiteY61" fmla="*/ 144399 h 963549"/>
              <a:gd name="connsiteX62" fmla="*/ 532352 w 15083451"/>
              <a:gd name="connsiteY62" fmla="*/ 143447 h 963549"/>
              <a:gd name="connsiteX63" fmla="*/ 483108 w 15083451"/>
              <a:gd name="connsiteY63" fmla="*/ 228410 h 963549"/>
              <a:gd name="connsiteX64" fmla="*/ 271082 w 15083451"/>
              <a:gd name="connsiteY64" fmla="*/ 228410 h 963549"/>
              <a:gd name="connsiteX65" fmla="*/ 227743 w 15083451"/>
              <a:gd name="connsiteY65" fmla="*/ 156782 h 963549"/>
              <a:gd name="connsiteX66" fmla="*/ 200216 w 15083451"/>
              <a:gd name="connsiteY66" fmla="*/ 156782 h 963549"/>
              <a:gd name="connsiteX67" fmla="*/ 152019 w 15083451"/>
              <a:gd name="connsiteY67" fmla="*/ 248126 h 963549"/>
              <a:gd name="connsiteX68" fmla="*/ 150781 w 15083451"/>
              <a:gd name="connsiteY68" fmla="*/ 298990 h 963549"/>
              <a:gd name="connsiteX69" fmla="*/ 153638 w 15083451"/>
              <a:gd name="connsiteY69" fmla="*/ 303562 h 963549"/>
              <a:gd name="connsiteX70" fmla="*/ 157353 w 15083451"/>
              <a:gd name="connsiteY70" fmla="*/ 303467 h 963549"/>
              <a:gd name="connsiteX71" fmla="*/ 161068 w 15083451"/>
              <a:gd name="connsiteY71" fmla="*/ 298990 h 963549"/>
              <a:gd name="connsiteX72" fmla="*/ 525304 w 15083451"/>
              <a:gd name="connsiteY72" fmla="*/ 299180 h 963549"/>
              <a:gd name="connsiteX73" fmla="*/ 578739 w 15083451"/>
              <a:gd name="connsiteY73" fmla="*/ 213741 h 963549"/>
              <a:gd name="connsiteX74" fmla="*/ 607314 w 15083451"/>
              <a:gd name="connsiteY74" fmla="*/ 213741 h 963549"/>
              <a:gd name="connsiteX75" fmla="*/ 629317 w 15083451"/>
              <a:gd name="connsiteY75" fmla="*/ 242697 h 963549"/>
              <a:gd name="connsiteX76" fmla="*/ 629317 w 15083451"/>
              <a:gd name="connsiteY76" fmla="*/ 322326 h 963549"/>
              <a:gd name="connsiteX77" fmla="*/ 704945 w 15083451"/>
              <a:gd name="connsiteY77" fmla="*/ 449294 h 963549"/>
              <a:gd name="connsiteX78" fmla="*/ 648938 w 15083451"/>
              <a:gd name="connsiteY78" fmla="*/ 533400 h 963549"/>
              <a:gd name="connsiteX79" fmla="*/ 647510 w 15083451"/>
              <a:gd name="connsiteY79" fmla="*/ 650558 h 963549"/>
              <a:gd name="connsiteX80" fmla="*/ 603409 w 15083451"/>
              <a:gd name="connsiteY80" fmla="*/ 716852 h 963549"/>
              <a:gd name="connsiteX81" fmla="*/ 563404 w 15083451"/>
              <a:gd name="connsiteY81" fmla="*/ 649700 h 963549"/>
              <a:gd name="connsiteX82" fmla="*/ 563404 w 15083451"/>
              <a:gd name="connsiteY82" fmla="*/ 578644 h 963549"/>
              <a:gd name="connsiteX83" fmla="*/ 537496 w 15083451"/>
              <a:gd name="connsiteY83" fmla="*/ 536258 h 963549"/>
              <a:gd name="connsiteX84" fmla="*/ 537496 w 15083451"/>
              <a:gd name="connsiteY84" fmla="*/ 436721 h 963549"/>
              <a:gd name="connsiteX85" fmla="*/ 498824 w 15083451"/>
              <a:gd name="connsiteY85" fmla="*/ 368999 h 963549"/>
              <a:gd name="connsiteX86" fmla="*/ 581120 w 15083451"/>
              <a:gd name="connsiteY86" fmla="*/ 368999 h 963549"/>
              <a:gd name="connsiteX87" fmla="*/ 627698 w 15083451"/>
              <a:gd name="connsiteY87" fmla="*/ 443579 h 963549"/>
              <a:gd name="connsiteX88" fmla="*/ 592550 w 15083451"/>
              <a:gd name="connsiteY88" fmla="*/ 496729 h 963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15083451" h="963549">
                <a:moveTo>
                  <a:pt x="15083451" y="5158"/>
                </a:moveTo>
                <a:lnTo>
                  <a:pt x="439579" y="0"/>
                </a:lnTo>
                <a:lnTo>
                  <a:pt x="399955" y="72009"/>
                </a:lnTo>
                <a:lnTo>
                  <a:pt x="351377" y="72390"/>
                </a:lnTo>
                <a:lnTo>
                  <a:pt x="307467" y="0"/>
                </a:lnTo>
                <a:lnTo>
                  <a:pt x="118967" y="0"/>
                </a:lnTo>
                <a:lnTo>
                  <a:pt x="0" y="199739"/>
                </a:lnTo>
                <a:lnTo>
                  <a:pt x="0" y="342138"/>
                </a:lnTo>
                <a:lnTo>
                  <a:pt x="78296" y="463772"/>
                </a:lnTo>
                <a:lnTo>
                  <a:pt x="204216" y="463772"/>
                </a:lnTo>
                <a:lnTo>
                  <a:pt x="219647" y="437007"/>
                </a:lnTo>
                <a:lnTo>
                  <a:pt x="381000" y="437007"/>
                </a:lnTo>
                <a:lnTo>
                  <a:pt x="399288" y="469773"/>
                </a:lnTo>
                <a:lnTo>
                  <a:pt x="399288" y="568071"/>
                </a:lnTo>
                <a:lnTo>
                  <a:pt x="434245" y="628841"/>
                </a:lnTo>
                <a:cubicBezTo>
                  <a:pt x="434181" y="650336"/>
                  <a:pt x="434118" y="671830"/>
                  <a:pt x="434054" y="693325"/>
                </a:cubicBezTo>
                <a:lnTo>
                  <a:pt x="492728" y="800005"/>
                </a:lnTo>
                <a:lnTo>
                  <a:pt x="492728" y="884873"/>
                </a:lnTo>
                <a:lnTo>
                  <a:pt x="559118" y="962978"/>
                </a:lnTo>
                <a:lnTo>
                  <a:pt x="645414" y="963549"/>
                </a:lnTo>
                <a:lnTo>
                  <a:pt x="688372" y="892112"/>
                </a:lnTo>
                <a:lnTo>
                  <a:pt x="688372" y="837914"/>
                </a:lnTo>
                <a:lnTo>
                  <a:pt x="784479" y="687229"/>
                </a:lnTo>
                <a:lnTo>
                  <a:pt x="784479" y="586169"/>
                </a:lnTo>
                <a:lnTo>
                  <a:pt x="831152" y="512636"/>
                </a:lnTo>
                <a:lnTo>
                  <a:pt x="886968" y="513207"/>
                </a:lnTo>
                <a:lnTo>
                  <a:pt x="979075" y="352139"/>
                </a:lnTo>
                <a:lnTo>
                  <a:pt x="809530" y="352139"/>
                </a:lnTo>
                <a:lnTo>
                  <a:pt x="761333" y="269367"/>
                </a:lnTo>
                <a:lnTo>
                  <a:pt x="761429" y="189357"/>
                </a:lnTo>
                <a:lnTo>
                  <a:pt x="681419" y="77438"/>
                </a:lnTo>
                <a:lnTo>
                  <a:pt x="655511" y="77438"/>
                </a:lnTo>
                <a:lnTo>
                  <a:pt x="487299" y="77438"/>
                </a:lnTo>
                <a:lnTo>
                  <a:pt x="443293" y="153448"/>
                </a:lnTo>
                <a:lnTo>
                  <a:pt x="316421" y="153448"/>
                </a:lnTo>
                <a:lnTo>
                  <a:pt x="265843" y="67056"/>
                </a:lnTo>
                <a:lnTo>
                  <a:pt x="159639" y="67056"/>
                </a:lnTo>
                <a:lnTo>
                  <a:pt x="71914" y="225457"/>
                </a:lnTo>
                <a:lnTo>
                  <a:pt x="71914" y="311753"/>
                </a:lnTo>
                <a:lnTo>
                  <a:pt x="121825" y="393192"/>
                </a:lnTo>
                <a:lnTo>
                  <a:pt x="160687" y="393192"/>
                </a:lnTo>
                <a:lnTo>
                  <a:pt x="173260" y="370332"/>
                </a:lnTo>
                <a:lnTo>
                  <a:pt x="416433" y="370332"/>
                </a:lnTo>
                <a:lnTo>
                  <a:pt x="465392" y="455676"/>
                </a:lnTo>
                <a:lnTo>
                  <a:pt x="465392" y="556736"/>
                </a:lnTo>
                <a:lnTo>
                  <a:pt x="500443" y="616839"/>
                </a:lnTo>
                <a:lnTo>
                  <a:pt x="500443" y="678275"/>
                </a:lnTo>
                <a:lnTo>
                  <a:pt x="563309" y="783527"/>
                </a:lnTo>
                <a:lnTo>
                  <a:pt x="563309" y="847344"/>
                </a:lnTo>
                <a:lnTo>
                  <a:pt x="594932" y="888492"/>
                </a:lnTo>
                <a:lnTo>
                  <a:pt x="609124" y="888492"/>
                </a:lnTo>
                <a:lnTo>
                  <a:pt x="628460" y="856488"/>
                </a:lnTo>
                <a:lnTo>
                  <a:pt x="628460" y="810292"/>
                </a:lnTo>
                <a:lnTo>
                  <a:pt x="717899" y="667226"/>
                </a:lnTo>
                <a:cubicBezTo>
                  <a:pt x="718121" y="630206"/>
                  <a:pt x="718344" y="593185"/>
                  <a:pt x="718566" y="556165"/>
                </a:cubicBezTo>
                <a:lnTo>
                  <a:pt x="790956" y="448056"/>
                </a:lnTo>
                <a:lnTo>
                  <a:pt x="843725" y="447770"/>
                </a:lnTo>
                <a:lnTo>
                  <a:pt x="861060" y="419957"/>
                </a:lnTo>
                <a:lnTo>
                  <a:pt x="767239" y="419957"/>
                </a:lnTo>
                <a:lnTo>
                  <a:pt x="691229" y="291370"/>
                </a:lnTo>
                <a:cubicBezTo>
                  <a:pt x="690562" y="264382"/>
                  <a:pt x="689896" y="237395"/>
                  <a:pt x="689229" y="210407"/>
                </a:cubicBezTo>
                <a:lnTo>
                  <a:pt x="640271" y="144399"/>
                </a:lnTo>
                <a:lnTo>
                  <a:pt x="532352" y="143447"/>
                </a:lnTo>
                <a:lnTo>
                  <a:pt x="483108" y="228410"/>
                </a:lnTo>
                <a:lnTo>
                  <a:pt x="271082" y="228410"/>
                </a:lnTo>
                <a:lnTo>
                  <a:pt x="227743" y="156782"/>
                </a:lnTo>
                <a:lnTo>
                  <a:pt x="200216" y="156782"/>
                </a:lnTo>
                <a:lnTo>
                  <a:pt x="152019" y="248126"/>
                </a:lnTo>
                <a:cubicBezTo>
                  <a:pt x="151606" y="265081"/>
                  <a:pt x="151194" y="282035"/>
                  <a:pt x="150781" y="298990"/>
                </a:cubicBezTo>
                <a:lnTo>
                  <a:pt x="153638" y="303562"/>
                </a:lnTo>
                <a:lnTo>
                  <a:pt x="157353" y="303467"/>
                </a:lnTo>
                <a:lnTo>
                  <a:pt x="161068" y="298990"/>
                </a:lnTo>
                <a:lnTo>
                  <a:pt x="525304" y="299180"/>
                </a:lnTo>
                <a:lnTo>
                  <a:pt x="578739" y="213741"/>
                </a:lnTo>
                <a:lnTo>
                  <a:pt x="607314" y="213741"/>
                </a:lnTo>
                <a:lnTo>
                  <a:pt x="629317" y="242697"/>
                </a:lnTo>
                <a:lnTo>
                  <a:pt x="629317" y="322326"/>
                </a:lnTo>
                <a:lnTo>
                  <a:pt x="704945" y="449294"/>
                </a:lnTo>
                <a:lnTo>
                  <a:pt x="648938" y="533400"/>
                </a:lnTo>
                <a:lnTo>
                  <a:pt x="647510" y="650558"/>
                </a:lnTo>
                <a:lnTo>
                  <a:pt x="603409" y="716852"/>
                </a:lnTo>
                <a:lnTo>
                  <a:pt x="563404" y="649700"/>
                </a:lnTo>
                <a:lnTo>
                  <a:pt x="563404" y="578644"/>
                </a:lnTo>
                <a:lnTo>
                  <a:pt x="537496" y="536258"/>
                </a:lnTo>
                <a:lnTo>
                  <a:pt x="537496" y="436721"/>
                </a:lnTo>
                <a:lnTo>
                  <a:pt x="498824" y="368999"/>
                </a:lnTo>
                <a:lnTo>
                  <a:pt x="581120" y="368999"/>
                </a:lnTo>
                <a:lnTo>
                  <a:pt x="627698" y="443579"/>
                </a:lnTo>
                <a:lnTo>
                  <a:pt x="592550" y="496729"/>
                </a:lnTo>
              </a:path>
            </a:pathLst>
          </a:custGeom>
          <a:noFill/>
          <a:ln w="7144" cap="flat">
            <a:solidFill>
              <a:srgbClr val="E63C2B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40B27B1-9BEE-85F0-5F8D-2FE6D5DDD203}"/>
              </a:ext>
            </a:extLst>
          </p:cNvPr>
          <p:cNvSpPr/>
          <p:nvPr userDrawn="1"/>
        </p:nvSpPr>
        <p:spPr>
          <a:xfrm>
            <a:off x="501343" y="857543"/>
            <a:ext cx="432048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A1B3B9E-600F-FC15-707B-431B65AD49C7}"/>
              </a:ext>
            </a:extLst>
          </p:cNvPr>
          <p:cNvSpPr/>
          <p:nvPr userDrawn="1"/>
        </p:nvSpPr>
        <p:spPr>
          <a:xfrm>
            <a:off x="380693" y="914693"/>
            <a:ext cx="432048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D1B1B81-36CD-9D78-49C8-71B7E7E54A6F}"/>
              </a:ext>
            </a:extLst>
          </p:cNvPr>
          <p:cNvSpPr/>
          <p:nvPr userDrawn="1"/>
        </p:nvSpPr>
        <p:spPr>
          <a:xfrm>
            <a:off x="69295" y="867068"/>
            <a:ext cx="362505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342909-EEA3-22BC-20EC-DD8352F176C2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6798" y="260004"/>
            <a:ext cx="1428987" cy="97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881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44" r:id="rId2"/>
    <p:sldLayoutId id="2147483747" r:id="rId3"/>
    <p:sldLayoutId id="2147483753" r:id="rId4"/>
    <p:sldLayoutId id="2147483757" r:id="rId5"/>
    <p:sldLayoutId id="2147483808" r:id="rId6"/>
    <p:sldLayoutId id="2147483806" r:id="rId7"/>
    <p:sldLayoutId id="2147483807" r:id="rId8"/>
    <p:sldLayoutId id="2147483750" r:id="rId9"/>
    <p:sldLayoutId id="2147483756" r:id="rId10"/>
    <p:sldLayoutId id="2147483749" r:id="rId11"/>
    <p:sldLayoutId id="2147483752" r:id="rId12"/>
    <p:sldLayoutId id="2147483779" r:id="rId13"/>
    <p:sldLayoutId id="2147483755" r:id="rId14"/>
    <p:sldLayoutId id="2147483776" r:id="rId15"/>
    <p:sldLayoutId id="2147483778" r:id="rId16"/>
    <p:sldLayoutId id="2147483751" r:id="rId17"/>
    <p:sldLayoutId id="2147483739" r:id="rId18"/>
    <p:sldLayoutId id="2147483734" r:id="rId19"/>
    <p:sldLayoutId id="2147483745" r:id="rId20"/>
    <p:sldLayoutId id="2147483728" r:id="rId21"/>
    <p:sldLayoutId id="2147483746" r:id="rId22"/>
    <p:sldLayoutId id="2147483736" r:id="rId23"/>
    <p:sldLayoutId id="2147483738" r:id="rId24"/>
    <p:sldLayoutId id="2147483740" r:id="rId25"/>
    <p:sldLayoutId id="2147483732" r:id="rId26"/>
    <p:sldLayoutId id="2147483733" r:id="rId27"/>
    <p:sldLayoutId id="2147483743" r:id="rId28"/>
  </p:sldLayoutIdLst>
  <p:hf hdr="0" ftr="0" dt="0"/>
  <p:txStyles>
    <p:titleStyle>
      <a:lvl1pPr algn="l" defTabSz="779173" rtl="0" eaLnBrk="1" latinLnBrk="0" hangingPunct="1">
        <a:spcBef>
          <a:spcPct val="0"/>
        </a:spcBef>
        <a:buNone/>
        <a:defRPr sz="2800" b="1" i="0" kern="1200" cap="none" spc="0" baseline="0">
          <a:solidFill>
            <a:schemeClr val="tx1"/>
          </a:solidFill>
          <a:latin typeface="Apex New Bold" panose="02010600040501010103" pitchFamily="2" charset="77"/>
          <a:ea typeface="Apex New Bold" panose="02010600040501010103" pitchFamily="2" charset="77"/>
          <a:cs typeface="+mj-cs"/>
        </a:defRPr>
      </a:lvl1pPr>
    </p:titleStyle>
    <p:bodyStyle>
      <a:lvl1pPr marL="0" indent="0" algn="l" defTabSz="779173" rtl="0" eaLnBrk="1" latinLnBrk="0" hangingPunct="1">
        <a:lnSpc>
          <a:spcPct val="110000"/>
        </a:lnSpc>
        <a:spcBef>
          <a:spcPts val="1023"/>
        </a:spcBef>
        <a:spcAft>
          <a:spcPts val="341"/>
        </a:spcAft>
        <a:buFont typeface="Arial" pitchFamily="34" charset="0"/>
        <a:buNone/>
        <a:defRPr sz="20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228612" indent="-142037" algn="l" defTabSz="779173" rtl="0" eaLnBrk="1" latinLnBrk="0" hangingPunct="1">
        <a:lnSpc>
          <a:spcPct val="110000"/>
        </a:lnSpc>
        <a:spcBef>
          <a:spcPts val="171"/>
        </a:spcBef>
        <a:spcAft>
          <a:spcPts val="171"/>
        </a:spcAft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531623" indent="-160976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›"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764293" indent="-155565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–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1078126" indent="-156917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»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142725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312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98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84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6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73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9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45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32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18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104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91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0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  <p15:guide id="5" orient="horz" pos="2432" userDrawn="1">
          <p15:clr>
            <a:srgbClr val="F26B43"/>
          </p15:clr>
        </p15:guide>
        <p15:guide id="7" orient="horz" pos="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48978833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31" imgW="421" imgH="420" progId="TCLayout.ActiveDocument.1">
                  <p:embed/>
                </p:oleObj>
              </mc:Choice>
              <mc:Fallback>
                <p:oleObj name="think-cell Slide" r:id="rId31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8" name="Group 207">
            <a:extLst>
              <a:ext uri="{FF2B5EF4-FFF2-40B4-BE49-F238E27FC236}">
                <a16:creationId xmlns:a16="http://schemas.microsoft.com/office/drawing/2014/main" id="{FC8C16CD-EABE-B174-F203-60F2C5DDB2BD}"/>
              </a:ext>
            </a:extLst>
          </p:cNvPr>
          <p:cNvGrpSpPr/>
          <p:nvPr userDrawn="1"/>
        </p:nvGrpSpPr>
        <p:grpSpPr>
          <a:xfrm>
            <a:off x="10522168" y="260005"/>
            <a:ext cx="1431967" cy="973734"/>
            <a:chOff x="10366157" y="302263"/>
            <a:chExt cx="1394705" cy="948396"/>
          </a:xfrm>
        </p:grpSpPr>
        <p:sp>
          <p:nvSpPr>
            <p:cNvPr id="209" name="object 28">
              <a:extLst>
                <a:ext uri="{FF2B5EF4-FFF2-40B4-BE49-F238E27FC236}">
                  <a16:creationId xmlns:a16="http://schemas.microsoft.com/office/drawing/2014/main" id="{6E773E17-8EE7-2EBB-C07D-470AB8BA4F8C}"/>
                </a:ext>
              </a:extLst>
            </p:cNvPr>
            <p:cNvSpPr/>
            <p:nvPr/>
          </p:nvSpPr>
          <p:spPr>
            <a:xfrm>
              <a:off x="10366157" y="638781"/>
              <a:ext cx="370938" cy="2141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"/>
                  </a:lnTo>
                  <a:lnTo>
                    <a:pt x="7201" y="21600"/>
                  </a:lnTo>
                  <a:lnTo>
                    <a:pt x="1440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85BD3E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210" name="object 29">
              <a:extLst>
                <a:ext uri="{FF2B5EF4-FFF2-40B4-BE49-F238E27FC236}">
                  <a16:creationId xmlns:a16="http://schemas.microsoft.com/office/drawing/2014/main" id="{A9BBCCA1-D2C9-0073-8150-EF7EC50A2649}"/>
                </a:ext>
              </a:extLst>
            </p:cNvPr>
            <p:cNvSpPr/>
            <p:nvPr/>
          </p:nvSpPr>
          <p:spPr>
            <a:xfrm>
              <a:off x="10595698" y="638779"/>
              <a:ext cx="706747" cy="6118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818" y="0"/>
                  </a:moveTo>
                  <a:lnTo>
                    <a:pt x="7021" y="1"/>
                  </a:lnTo>
                  <a:lnTo>
                    <a:pt x="0" y="14036"/>
                  </a:lnTo>
                  <a:lnTo>
                    <a:pt x="3782" y="21600"/>
                  </a:lnTo>
                  <a:lnTo>
                    <a:pt x="10800" y="7560"/>
                  </a:lnTo>
                  <a:lnTo>
                    <a:pt x="21600" y="7560"/>
                  </a:lnTo>
                  <a:lnTo>
                    <a:pt x="17818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grpSp>
          <p:nvGrpSpPr>
            <p:cNvPr id="211" name="object 30">
              <a:extLst>
                <a:ext uri="{FF2B5EF4-FFF2-40B4-BE49-F238E27FC236}">
                  <a16:creationId xmlns:a16="http://schemas.microsoft.com/office/drawing/2014/main" id="{C63CE11A-7B41-ADC7-F175-47E897852661}"/>
                </a:ext>
              </a:extLst>
            </p:cNvPr>
            <p:cNvGrpSpPr/>
            <p:nvPr/>
          </p:nvGrpSpPr>
          <p:grpSpPr>
            <a:xfrm>
              <a:off x="10674915" y="302263"/>
              <a:ext cx="1085947" cy="122368"/>
              <a:chOff x="-1" y="-1"/>
              <a:chExt cx="1085945" cy="122366"/>
            </a:xfrm>
          </p:grpSpPr>
          <p:sp>
            <p:nvSpPr>
              <p:cNvPr id="212" name="Shape">
                <a:extLst>
                  <a:ext uri="{FF2B5EF4-FFF2-40B4-BE49-F238E27FC236}">
                    <a16:creationId xmlns:a16="http://schemas.microsoft.com/office/drawing/2014/main" id="{F612E393-F414-DC88-2045-14DA35B327CA}"/>
                  </a:ext>
                </a:extLst>
              </p:cNvPr>
              <p:cNvSpPr/>
              <p:nvPr/>
            </p:nvSpPr>
            <p:spPr>
              <a:xfrm>
                <a:off x="126364" y="0"/>
                <a:ext cx="106113" cy="1223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785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229" y="21600"/>
                    </a:lnTo>
                    <a:lnTo>
                      <a:pt x="6229" y="13166"/>
                    </a:lnTo>
                    <a:lnTo>
                      <a:pt x="19299" y="13166"/>
                    </a:lnTo>
                    <a:lnTo>
                      <a:pt x="18631" y="12161"/>
                    </a:lnTo>
                    <a:lnTo>
                      <a:pt x="19931" y="11209"/>
                    </a:lnTo>
                    <a:lnTo>
                      <a:pt x="20931" y="10011"/>
                    </a:lnTo>
                    <a:lnTo>
                      <a:pt x="21573" y="8618"/>
                    </a:lnTo>
                    <a:lnTo>
                      <a:pt x="21600" y="8438"/>
                    </a:lnTo>
                    <a:lnTo>
                      <a:pt x="6229" y="8438"/>
                    </a:lnTo>
                    <a:lnTo>
                      <a:pt x="6229" y="4726"/>
                    </a:lnTo>
                    <a:lnTo>
                      <a:pt x="21473" y="4726"/>
                    </a:lnTo>
                    <a:lnTo>
                      <a:pt x="21240" y="3716"/>
                    </a:lnTo>
                    <a:lnTo>
                      <a:pt x="19741" y="1782"/>
                    </a:lnTo>
                    <a:lnTo>
                      <a:pt x="17515" y="478"/>
                    </a:lnTo>
                    <a:lnTo>
                      <a:pt x="14785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213" name="Shape">
                <a:extLst>
                  <a:ext uri="{FF2B5EF4-FFF2-40B4-BE49-F238E27FC236}">
                    <a16:creationId xmlns:a16="http://schemas.microsoft.com/office/drawing/2014/main" id="{33452A30-51AA-04F4-E737-CBFE876C36F5}"/>
                  </a:ext>
                </a:extLst>
              </p:cNvPr>
              <p:cNvSpPr/>
              <p:nvPr/>
            </p:nvSpPr>
            <p:spPr>
              <a:xfrm>
                <a:off x="190118" y="74581"/>
                <a:ext cx="58626" cy="477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441" y="0"/>
                    </a:moveTo>
                    <a:lnTo>
                      <a:pt x="0" y="0"/>
                    </a:lnTo>
                    <a:lnTo>
                      <a:pt x="10166" y="21600"/>
                    </a:lnTo>
                    <a:lnTo>
                      <a:pt x="21600" y="21600"/>
                    </a:lnTo>
                    <a:lnTo>
                      <a:pt x="11441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214" name="Shape">
                <a:extLst>
                  <a:ext uri="{FF2B5EF4-FFF2-40B4-BE49-F238E27FC236}">
                    <a16:creationId xmlns:a16="http://schemas.microsoft.com/office/drawing/2014/main" id="{1903EED1-483F-48A2-F8AC-55205B55EA5B}"/>
                  </a:ext>
                </a:extLst>
              </p:cNvPr>
              <p:cNvSpPr/>
              <p:nvPr/>
            </p:nvSpPr>
            <p:spPr>
              <a:xfrm>
                <a:off x="248741" y="0"/>
                <a:ext cx="141120" cy="1223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478" y="0"/>
                    </a:moveTo>
                    <a:lnTo>
                      <a:pt x="9494" y="0"/>
                    </a:lnTo>
                    <a:lnTo>
                      <a:pt x="0" y="21600"/>
                    </a:lnTo>
                    <a:lnTo>
                      <a:pt x="4983" y="21600"/>
                    </a:lnTo>
                    <a:lnTo>
                      <a:pt x="7355" y="16201"/>
                    </a:lnTo>
                    <a:lnTo>
                      <a:pt x="21600" y="16201"/>
                    </a:lnTo>
                    <a:lnTo>
                      <a:pt x="19522" y="11473"/>
                    </a:lnTo>
                    <a:lnTo>
                      <a:pt x="9433" y="11473"/>
                    </a:lnTo>
                    <a:lnTo>
                      <a:pt x="11985" y="5662"/>
                    </a:lnTo>
                    <a:lnTo>
                      <a:pt x="16967" y="5662"/>
                    </a:lnTo>
                    <a:lnTo>
                      <a:pt x="14478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215" name="Shape">
                <a:extLst>
                  <a:ext uri="{FF2B5EF4-FFF2-40B4-BE49-F238E27FC236}">
                    <a16:creationId xmlns:a16="http://schemas.microsoft.com/office/drawing/2014/main" id="{084D58E9-ED01-715E-498F-CDCF8F0D5A8F}"/>
                  </a:ext>
                </a:extLst>
              </p:cNvPr>
              <p:cNvSpPr/>
              <p:nvPr/>
            </p:nvSpPr>
            <p:spPr>
              <a:xfrm>
                <a:off x="357308" y="91776"/>
                <a:ext cx="48059" cy="3059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631" y="0"/>
                    </a:moveTo>
                    <a:lnTo>
                      <a:pt x="0" y="0"/>
                    </a:lnTo>
                    <a:lnTo>
                      <a:pt x="6970" y="21600"/>
                    </a:lnTo>
                    <a:lnTo>
                      <a:pt x="21600" y="21600"/>
                    </a:lnTo>
                    <a:lnTo>
                      <a:pt x="14631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216" name="Shape">
                <a:extLst>
                  <a:ext uri="{FF2B5EF4-FFF2-40B4-BE49-F238E27FC236}">
                    <a16:creationId xmlns:a16="http://schemas.microsoft.com/office/drawing/2014/main" id="{09378A92-2FFF-09CE-49F7-A623DAF4FDE1}"/>
                  </a:ext>
                </a:extLst>
              </p:cNvPr>
              <p:cNvSpPr/>
              <p:nvPr/>
            </p:nvSpPr>
            <p:spPr>
              <a:xfrm>
                <a:off x="199408" y="26769"/>
                <a:ext cx="34052" cy="210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582" y="0"/>
                    </a:moveTo>
                    <a:lnTo>
                      <a:pt x="0" y="0"/>
                    </a:lnTo>
                    <a:lnTo>
                      <a:pt x="2183" y="3554"/>
                    </a:lnTo>
                    <a:lnTo>
                      <a:pt x="2232" y="18065"/>
                    </a:lnTo>
                    <a:lnTo>
                      <a:pt x="36" y="21600"/>
                    </a:lnTo>
                    <a:lnTo>
                      <a:pt x="20976" y="21600"/>
                    </a:lnTo>
                    <a:lnTo>
                      <a:pt x="21600" y="13689"/>
                    </a:lnTo>
                    <a:lnTo>
                      <a:pt x="21563" y="7911"/>
                    </a:lnTo>
                    <a:lnTo>
                      <a:pt x="20582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217" name="Shape">
                <a:extLst>
                  <a:ext uri="{FF2B5EF4-FFF2-40B4-BE49-F238E27FC236}">
                    <a16:creationId xmlns:a16="http://schemas.microsoft.com/office/drawing/2014/main" id="{BAA34797-BD1C-C171-ADCA-381BF5A29547}"/>
                  </a:ext>
                </a:extLst>
              </p:cNvPr>
              <p:cNvSpPr/>
              <p:nvPr/>
            </p:nvSpPr>
            <p:spPr>
              <a:xfrm>
                <a:off x="860477" y="0"/>
                <a:ext cx="99420" cy="1223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6872"/>
                    </a:lnTo>
                    <a:lnTo>
                      <a:pt x="6642" y="16872"/>
                    </a:lnTo>
                    <a:lnTo>
                      <a:pt x="6642" y="13163"/>
                    </a:lnTo>
                    <a:lnTo>
                      <a:pt x="20774" y="13163"/>
                    </a:lnTo>
                    <a:lnTo>
                      <a:pt x="20774" y="8435"/>
                    </a:lnTo>
                    <a:lnTo>
                      <a:pt x="6642" y="8435"/>
                    </a:lnTo>
                    <a:lnTo>
                      <a:pt x="6642" y="4724"/>
                    </a:lnTo>
                    <a:lnTo>
                      <a:pt x="21600" y="4724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218" name="Shape">
                <a:extLst>
                  <a:ext uri="{FF2B5EF4-FFF2-40B4-BE49-F238E27FC236}">
                    <a16:creationId xmlns:a16="http://schemas.microsoft.com/office/drawing/2014/main" id="{9E174C78-C63D-3316-D131-0DDB182589E4}"/>
                  </a:ext>
                </a:extLst>
              </p:cNvPr>
              <p:cNvSpPr/>
              <p:nvPr/>
            </p:nvSpPr>
            <p:spPr>
              <a:xfrm>
                <a:off x="565996" y="91280"/>
                <a:ext cx="112964" cy="3085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567" y="0"/>
                    </a:moveTo>
                    <a:lnTo>
                      <a:pt x="0" y="16251"/>
                    </a:lnTo>
                    <a:lnTo>
                      <a:pt x="1542" y="18512"/>
                    </a:lnTo>
                    <a:lnTo>
                      <a:pt x="3155" y="20188"/>
                    </a:lnTo>
                    <a:lnTo>
                      <a:pt x="4833" y="21232"/>
                    </a:lnTo>
                    <a:lnTo>
                      <a:pt x="6569" y="21600"/>
                    </a:lnTo>
                    <a:lnTo>
                      <a:pt x="15330" y="21591"/>
                    </a:lnTo>
                    <a:lnTo>
                      <a:pt x="17889" y="19698"/>
                    </a:lnTo>
                    <a:lnTo>
                      <a:pt x="19976" y="14534"/>
                    </a:lnTo>
                    <a:lnTo>
                      <a:pt x="21381" y="6876"/>
                    </a:lnTo>
                    <a:lnTo>
                      <a:pt x="21600" y="2890"/>
                    </a:lnTo>
                    <a:lnTo>
                      <a:pt x="6569" y="2890"/>
                    </a:lnTo>
                    <a:lnTo>
                      <a:pt x="5519" y="2695"/>
                    </a:lnTo>
                    <a:lnTo>
                      <a:pt x="4498" y="2135"/>
                    </a:lnTo>
                    <a:lnTo>
                      <a:pt x="3512" y="1231"/>
                    </a:lnTo>
                    <a:lnTo>
                      <a:pt x="2567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219" name="Shape">
                <a:extLst>
                  <a:ext uri="{FF2B5EF4-FFF2-40B4-BE49-F238E27FC236}">
                    <a16:creationId xmlns:a16="http://schemas.microsoft.com/office/drawing/2014/main" id="{B3D6561B-58C0-B00B-9114-57EBC4F1BE75}"/>
                  </a:ext>
                </a:extLst>
              </p:cNvPr>
              <p:cNvSpPr/>
              <p:nvPr/>
            </p:nvSpPr>
            <p:spPr>
              <a:xfrm>
                <a:off x="565996" y="-2"/>
                <a:ext cx="114512" cy="9541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5119" y="0"/>
                    </a:moveTo>
                    <a:lnTo>
                      <a:pt x="6480" y="0"/>
                    </a:lnTo>
                    <a:lnTo>
                      <a:pt x="3954" y="612"/>
                    </a:lnTo>
                    <a:lnTo>
                      <a:pt x="1895" y="2280"/>
                    </a:lnTo>
                    <a:lnTo>
                      <a:pt x="508" y="4756"/>
                    </a:lnTo>
                    <a:lnTo>
                      <a:pt x="0" y="7790"/>
                    </a:lnTo>
                    <a:lnTo>
                      <a:pt x="0" y="9056"/>
                    </a:lnTo>
                    <a:lnTo>
                      <a:pt x="508" y="12090"/>
                    </a:lnTo>
                    <a:lnTo>
                      <a:pt x="1895" y="14567"/>
                    </a:lnTo>
                    <a:lnTo>
                      <a:pt x="3954" y="16237"/>
                    </a:lnTo>
                    <a:lnTo>
                      <a:pt x="6480" y="16849"/>
                    </a:lnTo>
                    <a:lnTo>
                      <a:pt x="15200" y="16849"/>
                    </a:lnTo>
                    <a:lnTo>
                      <a:pt x="15849" y="17627"/>
                    </a:lnTo>
                    <a:lnTo>
                      <a:pt x="15849" y="20817"/>
                    </a:lnTo>
                    <a:lnTo>
                      <a:pt x="15200" y="21597"/>
                    </a:lnTo>
                    <a:lnTo>
                      <a:pt x="6480" y="21600"/>
                    </a:lnTo>
                    <a:lnTo>
                      <a:pt x="21308" y="21600"/>
                    </a:lnTo>
                    <a:lnTo>
                      <a:pt x="21600" y="19856"/>
                    </a:lnTo>
                    <a:lnTo>
                      <a:pt x="21600" y="18587"/>
                    </a:lnTo>
                    <a:lnTo>
                      <a:pt x="21092" y="15556"/>
                    </a:lnTo>
                    <a:lnTo>
                      <a:pt x="19706" y="13081"/>
                    </a:lnTo>
                    <a:lnTo>
                      <a:pt x="17647" y="11412"/>
                    </a:lnTo>
                    <a:lnTo>
                      <a:pt x="15122" y="10800"/>
                    </a:lnTo>
                    <a:lnTo>
                      <a:pt x="6400" y="10800"/>
                    </a:lnTo>
                    <a:lnTo>
                      <a:pt x="5748" y="10021"/>
                    </a:lnTo>
                    <a:lnTo>
                      <a:pt x="5748" y="6828"/>
                    </a:lnTo>
                    <a:lnTo>
                      <a:pt x="6400" y="6049"/>
                    </a:lnTo>
                    <a:lnTo>
                      <a:pt x="18717" y="6049"/>
                    </a:lnTo>
                    <a:lnTo>
                      <a:pt x="18717" y="428"/>
                    </a:lnTo>
                    <a:lnTo>
                      <a:pt x="17876" y="239"/>
                    </a:lnTo>
                    <a:lnTo>
                      <a:pt x="16980" y="106"/>
                    </a:lnTo>
                    <a:lnTo>
                      <a:pt x="16053" y="26"/>
                    </a:lnTo>
                    <a:lnTo>
                      <a:pt x="15119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220" name="Shape">
                <a:extLst>
                  <a:ext uri="{FF2B5EF4-FFF2-40B4-BE49-F238E27FC236}">
                    <a16:creationId xmlns:a16="http://schemas.microsoft.com/office/drawing/2014/main" id="{C91EBE74-344D-8CE0-517C-416261A7E4BB}"/>
                  </a:ext>
                </a:extLst>
              </p:cNvPr>
              <p:cNvSpPr/>
              <p:nvPr/>
            </p:nvSpPr>
            <p:spPr>
              <a:xfrm>
                <a:off x="994337" y="0"/>
                <a:ext cx="91608" cy="1223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7216" y="21600"/>
                    </a:lnTo>
                    <a:lnTo>
                      <a:pt x="7216" y="4726"/>
                    </a:lnTo>
                    <a:lnTo>
                      <a:pt x="17951" y="4726"/>
                    </a:lnTo>
                    <a:lnTo>
                      <a:pt x="21600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221" name="Shape">
                <a:extLst>
                  <a:ext uri="{FF2B5EF4-FFF2-40B4-BE49-F238E27FC236}">
                    <a16:creationId xmlns:a16="http://schemas.microsoft.com/office/drawing/2014/main" id="{3CF5A47B-B13B-2A01-E655-77C052F5ED5B}"/>
                  </a:ext>
                </a:extLst>
              </p:cNvPr>
              <p:cNvSpPr/>
              <p:nvPr/>
            </p:nvSpPr>
            <p:spPr>
              <a:xfrm>
                <a:off x="703683" y="0"/>
                <a:ext cx="64625" cy="1223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10220" y="21600"/>
                    </a:lnTo>
                    <a:lnTo>
                      <a:pt x="10220" y="7449"/>
                    </a:lnTo>
                    <a:lnTo>
                      <a:pt x="21600" y="7449"/>
                    </a:lnTo>
                    <a:lnTo>
                      <a:pt x="11504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222" name="Shape">
                <a:extLst>
                  <a:ext uri="{FF2B5EF4-FFF2-40B4-BE49-F238E27FC236}">
                    <a16:creationId xmlns:a16="http://schemas.microsoft.com/office/drawing/2014/main" id="{CCD62E07-89B6-8D14-845F-6FAE05758330}"/>
                  </a:ext>
                </a:extLst>
              </p:cNvPr>
              <p:cNvSpPr/>
              <p:nvPr/>
            </p:nvSpPr>
            <p:spPr>
              <a:xfrm>
                <a:off x="734258" y="42198"/>
                <a:ext cx="91805" cy="801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011" y="0"/>
                    </a:moveTo>
                    <a:lnTo>
                      <a:pt x="0" y="0"/>
                    </a:lnTo>
                    <a:lnTo>
                      <a:pt x="13499" y="21600"/>
                    </a:lnTo>
                    <a:lnTo>
                      <a:pt x="21600" y="21600"/>
                    </a:lnTo>
                    <a:lnTo>
                      <a:pt x="21600" y="10229"/>
                    </a:lnTo>
                    <a:lnTo>
                      <a:pt x="14404" y="10229"/>
                    </a:lnTo>
                    <a:lnTo>
                      <a:pt x="8011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223" name="Rectangle">
                <a:extLst>
                  <a:ext uri="{FF2B5EF4-FFF2-40B4-BE49-F238E27FC236}">
                    <a16:creationId xmlns:a16="http://schemas.microsoft.com/office/drawing/2014/main" id="{7D8D2A43-5404-B777-2E6D-EE66FC00E4A3}"/>
                  </a:ext>
                </a:extLst>
              </p:cNvPr>
              <p:cNvSpPr/>
              <p:nvPr/>
            </p:nvSpPr>
            <p:spPr>
              <a:xfrm>
                <a:off x="795478" y="113"/>
                <a:ext cx="30585" cy="80052"/>
              </a:xfrm>
              <a:prstGeom prst="rect">
                <a:avLst/>
              </a:pr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224" name="Rectangle">
                <a:extLst>
                  <a:ext uri="{FF2B5EF4-FFF2-40B4-BE49-F238E27FC236}">
                    <a16:creationId xmlns:a16="http://schemas.microsoft.com/office/drawing/2014/main" id="{1E236254-F0B3-D421-6557-050DC6D8C8C4}"/>
                  </a:ext>
                </a:extLst>
              </p:cNvPr>
              <p:cNvSpPr/>
              <p:nvPr/>
            </p:nvSpPr>
            <p:spPr>
              <a:xfrm>
                <a:off x="61334" y="26769"/>
                <a:ext cx="30610" cy="95595"/>
              </a:xfrm>
              <a:prstGeom prst="rect">
                <a:avLst/>
              </a:pr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225" name="Shape">
                <a:extLst>
                  <a:ext uri="{FF2B5EF4-FFF2-40B4-BE49-F238E27FC236}">
                    <a16:creationId xmlns:a16="http://schemas.microsoft.com/office/drawing/2014/main" id="{2A7C2351-8844-3A3A-B755-905CDFF2264B}"/>
                  </a:ext>
                </a:extLst>
              </p:cNvPr>
              <p:cNvSpPr/>
              <p:nvPr/>
            </p:nvSpPr>
            <p:spPr>
              <a:xfrm>
                <a:off x="-2" y="-2"/>
                <a:ext cx="91946" cy="267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0" y="15"/>
                    </a:lnTo>
                    <a:lnTo>
                      <a:pt x="3633" y="21600"/>
                    </a:lnTo>
                    <a:lnTo>
                      <a:pt x="21600" y="2159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226" name="Shape">
                <a:extLst>
                  <a:ext uri="{FF2B5EF4-FFF2-40B4-BE49-F238E27FC236}">
                    <a16:creationId xmlns:a16="http://schemas.microsoft.com/office/drawing/2014/main" id="{BAB90295-C7AF-C9FB-D56A-059CDDB4832E}"/>
                  </a:ext>
                </a:extLst>
              </p:cNvPr>
              <p:cNvSpPr/>
              <p:nvPr/>
            </p:nvSpPr>
            <p:spPr>
              <a:xfrm>
                <a:off x="416838" y="0"/>
                <a:ext cx="64618" cy="1223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10221" y="21600"/>
                    </a:lnTo>
                    <a:lnTo>
                      <a:pt x="10221" y="7449"/>
                    </a:lnTo>
                    <a:lnTo>
                      <a:pt x="21600" y="7449"/>
                    </a:lnTo>
                    <a:lnTo>
                      <a:pt x="11504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227" name="Shape">
                <a:extLst>
                  <a:ext uri="{FF2B5EF4-FFF2-40B4-BE49-F238E27FC236}">
                    <a16:creationId xmlns:a16="http://schemas.microsoft.com/office/drawing/2014/main" id="{103EF502-B5E0-E8B0-A065-87DA09C585B4}"/>
                  </a:ext>
                </a:extLst>
              </p:cNvPr>
              <p:cNvSpPr/>
              <p:nvPr/>
            </p:nvSpPr>
            <p:spPr>
              <a:xfrm>
                <a:off x="447414" y="42198"/>
                <a:ext cx="91807" cy="801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008" y="0"/>
                    </a:moveTo>
                    <a:lnTo>
                      <a:pt x="0" y="0"/>
                    </a:lnTo>
                    <a:lnTo>
                      <a:pt x="13499" y="21600"/>
                    </a:lnTo>
                    <a:lnTo>
                      <a:pt x="21600" y="21600"/>
                    </a:lnTo>
                    <a:lnTo>
                      <a:pt x="21600" y="10229"/>
                    </a:lnTo>
                    <a:lnTo>
                      <a:pt x="14401" y="10229"/>
                    </a:lnTo>
                    <a:lnTo>
                      <a:pt x="8008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228" name="Rectangle">
                <a:extLst>
                  <a:ext uri="{FF2B5EF4-FFF2-40B4-BE49-F238E27FC236}">
                    <a16:creationId xmlns:a16="http://schemas.microsoft.com/office/drawing/2014/main" id="{65BFCBCD-8725-AE81-A662-BB13870064AD}"/>
                  </a:ext>
                </a:extLst>
              </p:cNvPr>
              <p:cNvSpPr/>
              <p:nvPr/>
            </p:nvSpPr>
            <p:spPr>
              <a:xfrm>
                <a:off x="508623" y="113"/>
                <a:ext cx="30598" cy="80052"/>
              </a:xfrm>
              <a:prstGeom prst="rect">
                <a:avLst/>
              </a:pr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</p:grpSp>
      </p:grpSp>
      <p:sp>
        <p:nvSpPr>
          <p:cNvPr id="5" name="Freeform 4">
            <a:extLst>
              <a:ext uri="{FF2B5EF4-FFF2-40B4-BE49-F238E27FC236}">
                <a16:creationId xmlns:a16="http://schemas.microsoft.com/office/drawing/2014/main" id="{A3145E3B-53D8-24D2-49B8-FC9BEF07CE71}"/>
              </a:ext>
            </a:extLst>
          </p:cNvPr>
          <p:cNvSpPr/>
          <p:nvPr userDrawn="1"/>
        </p:nvSpPr>
        <p:spPr>
          <a:xfrm>
            <a:off x="11521842" y="6474757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E2766E-0E28-428C-7713-F6A0FCA419FF}"/>
              </a:ext>
            </a:extLst>
          </p:cNvPr>
          <p:cNvSpPr/>
          <p:nvPr userDrawn="1"/>
        </p:nvSpPr>
        <p:spPr>
          <a:xfrm>
            <a:off x="11588593" y="65348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>
              <a:solidFill>
                <a:schemeClr val="bg1"/>
              </a:solidFill>
              <a:latin typeface="Tahoma"/>
            </a:endParaRPr>
          </a:p>
        </p:txBody>
      </p:sp>
      <p:sp>
        <p:nvSpPr>
          <p:cNvPr id="7" name="Graphic 64">
            <a:extLst>
              <a:ext uri="{FF2B5EF4-FFF2-40B4-BE49-F238E27FC236}">
                <a16:creationId xmlns:a16="http://schemas.microsoft.com/office/drawing/2014/main" id="{238245C2-535F-687F-738F-83FEEB859035}"/>
              </a:ext>
            </a:extLst>
          </p:cNvPr>
          <p:cNvSpPr/>
          <p:nvPr userDrawn="1"/>
        </p:nvSpPr>
        <p:spPr>
          <a:xfrm>
            <a:off x="209511" y="825398"/>
            <a:ext cx="10134961" cy="647434"/>
          </a:xfrm>
          <a:custGeom>
            <a:avLst/>
            <a:gdLst>
              <a:gd name="connsiteX0" fmla="*/ 7482459 w 7482459"/>
              <a:gd name="connsiteY0" fmla="*/ 0 h 963549"/>
              <a:gd name="connsiteX1" fmla="*/ 439579 w 7482459"/>
              <a:gd name="connsiteY1" fmla="*/ 0 h 963549"/>
              <a:gd name="connsiteX2" fmla="*/ 399955 w 7482459"/>
              <a:gd name="connsiteY2" fmla="*/ 72009 h 963549"/>
              <a:gd name="connsiteX3" fmla="*/ 351377 w 7482459"/>
              <a:gd name="connsiteY3" fmla="*/ 72390 h 963549"/>
              <a:gd name="connsiteX4" fmla="*/ 307467 w 7482459"/>
              <a:gd name="connsiteY4" fmla="*/ 0 h 963549"/>
              <a:gd name="connsiteX5" fmla="*/ 118967 w 7482459"/>
              <a:gd name="connsiteY5" fmla="*/ 0 h 963549"/>
              <a:gd name="connsiteX6" fmla="*/ 0 w 7482459"/>
              <a:gd name="connsiteY6" fmla="*/ 199739 h 963549"/>
              <a:gd name="connsiteX7" fmla="*/ 0 w 7482459"/>
              <a:gd name="connsiteY7" fmla="*/ 342138 h 963549"/>
              <a:gd name="connsiteX8" fmla="*/ 78296 w 7482459"/>
              <a:gd name="connsiteY8" fmla="*/ 463772 h 963549"/>
              <a:gd name="connsiteX9" fmla="*/ 204216 w 7482459"/>
              <a:gd name="connsiteY9" fmla="*/ 463772 h 963549"/>
              <a:gd name="connsiteX10" fmla="*/ 219647 w 7482459"/>
              <a:gd name="connsiteY10" fmla="*/ 437007 h 963549"/>
              <a:gd name="connsiteX11" fmla="*/ 381000 w 7482459"/>
              <a:gd name="connsiteY11" fmla="*/ 437007 h 963549"/>
              <a:gd name="connsiteX12" fmla="*/ 399288 w 7482459"/>
              <a:gd name="connsiteY12" fmla="*/ 469773 h 963549"/>
              <a:gd name="connsiteX13" fmla="*/ 399288 w 7482459"/>
              <a:gd name="connsiteY13" fmla="*/ 568071 h 963549"/>
              <a:gd name="connsiteX14" fmla="*/ 434245 w 7482459"/>
              <a:gd name="connsiteY14" fmla="*/ 628841 h 963549"/>
              <a:gd name="connsiteX15" fmla="*/ 434054 w 7482459"/>
              <a:gd name="connsiteY15" fmla="*/ 693325 h 963549"/>
              <a:gd name="connsiteX16" fmla="*/ 492728 w 7482459"/>
              <a:gd name="connsiteY16" fmla="*/ 800005 h 963549"/>
              <a:gd name="connsiteX17" fmla="*/ 492728 w 7482459"/>
              <a:gd name="connsiteY17" fmla="*/ 884873 h 963549"/>
              <a:gd name="connsiteX18" fmla="*/ 559118 w 7482459"/>
              <a:gd name="connsiteY18" fmla="*/ 962978 h 963549"/>
              <a:gd name="connsiteX19" fmla="*/ 645414 w 7482459"/>
              <a:gd name="connsiteY19" fmla="*/ 963549 h 963549"/>
              <a:gd name="connsiteX20" fmla="*/ 688372 w 7482459"/>
              <a:gd name="connsiteY20" fmla="*/ 892112 h 963549"/>
              <a:gd name="connsiteX21" fmla="*/ 688372 w 7482459"/>
              <a:gd name="connsiteY21" fmla="*/ 837914 h 963549"/>
              <a:gd name="connsiteX22" fmla="*/ 784479 w 7482459"/>
              <a:gd name="connsiteY22" fmla="*/ 687229 h 963549"/>
              <a:gd name="connsiteX23" fmla="*/ 784479 w 7482459"/>
              <a:gd name="connsiteY23" fmla="*/ 586169 h 963549"/>
              <a:gd name="connsiteX24" fmla="*/ 831152 w 7482459"/>
              <a:gd name="connsiteY24" fmla="*/ 512636 h 963549"/>
              <a:gd name="connsiteX25" fmla="*/ 886968 w 7482459"/>
              <a:gd name="connsiteY25" fmla="*/ 513207 h 963549"/>
              <a:gd name="connsiteX26" fmla="*/ 979075 w 7482459"/>
              <a:gd name="connsiteY26" fmla="*/ 352139 h 963549"/>
              <a:gd name="connsiteX27" fmla="*/ 809530 w 7482459"/>
              <a:gd name="connsiteY27" fmla="*/ 352139 h 963549"/>
              <a:gd name="connsiteX28" fmla="*/ 761333 w 7482459"/>
              <a:gd name="connsiteY28" fmla="*/ 269367 h 963549"/>
              <a:gd name="connsiteX29" fmla="*/ 761429 w 7482459"/>
              <a:gd name="connsiteY29" fmla="*/ 189357 h 963549"/>
              <a:gd name="connsiteX30" fmla="*/ 681419 w 7482459"/>
              <a:gd name="connsiteY30" fmla="*/ 77438 h 963549"/>
              <a:gd name="connsiteX31" fmla="*/ 655511 w 7482459"/>
              <a:gd name="connsiteY31" fmla="*/ 77438 h 963549"/>
              <a:gd name="connsiteX32" fmla="*/ 487299 w 7482459"/>
              <a:gd name="connsiteY32" fmla="*/ 77438 h 963549"/>
              <a:gd name="connsiteX33" fmla="*/ 443293 w 7482459"/>
              <a:gd name="connsiteY33" fmla="*/ 153448 h 963549"/>
              <a:gd name="connsiteX34" fmla="*/ 316421 w 7482459"/>
              <a:gd name="connsiteY34" fmla="*/ 153448 h 963549"/>
              <a:gd name="connsiteX35" fmla="*/ 265843 w 7482459"/>
              <a:gd name="connsiteY35" fmla="*/ 67056 h 963549"/>
              <a:gd name="connsiteX36" fmla="*/ 159639 w 7482459"/>
              <a:gd name="connsiteY36" fmla="*/ 67056 h 963549"/>
              <a:gd name="connsiteX37" fmla="*/ 71914 w 7482459"/>
              <a:gd name="connsiteY37" fmla="*/ 225457 h 963549"/>
              <a:gd name="connsiteX38" fmla="*/ 71914 w 7482459"/>
              <a:gd name="connsiteY38" fmla="*/ 311753 h 963549"/>
              <a:gd name="connsiteX39" fmla="*/ 121825 w 7482459"/>
              <a:gd name="connsiteY39" fmla="*/ 393192 h 963549"/>
              <a:gd name="connsiteX40" fmla="*/ 160687 w 7482459"/>
              <a:gd name="connsiteY40" fmla="*/ 393192 h 963549"/>
              <a:gd name="connsiteX41" fmla="*/ 173260 w 7482459"/>
              <a:gd name="connsiteY41" fmla="*/ 370332 h 963549"/>
              <a:gd name="connsiteX42" fmla="*/ 416433 w 7482459"/>
              <a:gd name="connsiteY42" fmla="*/ 370332 h 963549"/>
              <a:gd name="connsiteX43" fmla="*/ 465392 w 7482459"/>
              <a:gd name="connsiteY43" fmla="*/ 455676 h 963549"/>
              <a:gd name="connsiteX44" fmla="*/ 465392 w 7482459"/>
              <a:gd name="connsiteY44" fmla="*/ 556736 h 963549"/>
              <a:gd name="connsiteX45" fmla="*/ 500443 w 7482459"/>
              <a:gd name="connsiteY45" fmla="*/ 616839 h 963549"/>
              <a:gd name="connsiteX46" fmla="*/ 500443 w 7482459"/>
              <a:gd name="connsiteY46" fmla="*/ 678275 h 963549"/>
              <a:gd name="connsiteX47" fmla="*/ 563309 w 7482459"/>
              <a:gd name="connsiteY47" fmla="*/ 783527 h 963549"/>
              <a:gd name="connsiteX48" fmla="*/ 563309 w 7482459"/>
              <a:gd name="connsiteY48" fmla="*/ 847344 h 963549"/>
              <a:gd name="connsiteX49" fmla="*/ 594932 w 7482459"/>
              <a:gd name="connsiteY49" fmla="*/ 888492 h 963549"/>
              <a:gd name="connsiteX50" fmla="*/ 609124 w 7482459"/>
              <a:gd name="connsiteY50" fmla="*/ 888492 h 963549"/>
              <a:gd name="connsiteX51" fmla="*/ 628460 w 7482459"/>
              <a:gd name="connsiteY51" fmla="*/ 856488 h 963549"/>
              <a:gd name="connsiteX52" fmla="*/ 628460 w 7482459"/>
              <a:gd name="connsiteY52" fmla="*/ 810292 h 963549"/>
              <a:gd name="connsiteX53" fmla="*/ 717899 w 7482459"/>
              <a:gd name="connsiteY53" fmla="*/ 667226 h 963549"/>
              <a:gd name="connsiteX54" fmla="*/ 718566 w 7482459"/>
              <a:gd name="connsiteY54" fmla="*/ 556165 h 963549"/>
              <a:gd name="connsiteX55" fmla="*/ 790956 w 7482459"/>
              <a:gd name="connsiteY55" fmla="*/ 448056 h 963549"/>
              <a:gd name="connsiteX56" fmla="*/ 843725 w 7482459"/>
              <a:gd name="connsiteY56" fmla="*/ 447770 h 963549"/>
              <a:gd name="connsiteX57" fmla="*/ 861060 w 7482459"/>
              <a:gd name="connsiteY57" fmla="*/ 419957 h 963549"/>
              <a:gd name="connsiteX58" fmla="*/ 767239 w 7482459"/>
              <a:gd name="connsiteY58" fmla="*/ 419957 h 963549"/>
              <a:gd name="connsiteX59" fmla="*/ 691229 w 7482459"/>
              <a:gd name="connsiteY59" fmla="*/ 291370 h 963549"/>
              <a:gd name="connsiteX60" fmla="*/ 689229 w 7482459"/>
              <a:gd name="connsiteY60" fmla="*/ 210407 h 963549"/>
              <a:gd name="connsiteX61" fmla="*/ 640271 w 7482459"/>
              <a:gd name="connsiteY61" fmla="*/ 144399 h 963549"/>
              <a:gd name="connsiteX62" fmla="*/ 532352 w 7482459"/>
              <a:gd name="connsiteY62" fmla="*/ 143447 h 963549"/>
              <a:gd name="connsiteX63" fmla="*/ 483108 w 7482459"/>
              <a:gd name="connsiteY63" fmla="*/ 228410 h 963549"/>
              <a:gd name="connsiteX64" fmla="*/ 271082 w 7482459"/>
              <a:gd name="connsiteY64" fmla="*/ 228410 h 963549"/>
              <a:gd name="connsiteX65" fmla="*/ 227743 w 7482459"/>
              <a:gd name="connsiteY65" fmla="*/ 156782 h 963549"/>
              <a:gd name="connsiteX66" fmla="*/ 200216 w 7482459"/>
              <a:gd name="connsiteY66" fmla="*/ 156782 h 963549"/>
              <a:gd name="connsiteX67" fmla="*/ 152019 w 7482459"/>
              <a:gd name="connsiteY67" fmla="*/ 248126 h 963549"/>
              <a:gd name="connsiteX68" fmla="*/ 150781 w 7482459"/>
              <a:gd name="connsiteY68" fmla="*/ 298990 h 963549"/>
              <a:gd name="connsiteX69" fmla="*/ 153638 w 7482459"/>
              <a:gd name="connsiteY69" fmla="*/ 303562 h 963549"/>
              <a:gd name="connsiteX70" fmla="*/ 157353 w 7482459"/>
              <a:gd name="connsiteY70" fmla="*/ 303467 h 963549"/>
              <a:gd name="connsiteX71" fmla="*/ 161068 w 7482459"/>
              <a:gd name="connsiteY71" fmla="*/ 298990 h 963549"/>
              <a:gd name="connsiteX72" fmla="*/ 525304 w 7482459"/>
              <a:gd name="connsiteY72" fmla="*/ 299180 h 963549"/>
              <a:gd name="connsiteX73" fmla="*/ 578739 w 7482459"/>
              <a:gd name="connsiteY73" fmla="*/ 213741 h 963549"/>
              <a:gd name="connsiteX74" fmla="*/ 607314 w 7482459"/>
              <a:gd name="connsiteY74" fmla="*/ 213741 h 963549"/>
              <a:gd name="connsiteX75" fmla="*/ 629317 w 7482459"/>
              <a:gd name="connsiteY75" fmla="*/ 242697 h 963549"/>
              <a:gd name="connsiteX76" fmla="*/ 629317 w 7482459"/>
              <a:gd name="connsiteY76" fmla="*/ 322326 h 963549"/>
              <a:gd name="connsiteX77" fmla="*/ 704945 w 7482459"/>
              <a:gd name="connsiteY77" fmla="*/ 449294 h 963549"/>
              <a:gd name="connsiteX78" fmla="*/ 648938 w 7482459"/>
              <a:gd name="connsiteY78" fmla="*/ 533400 h 963549"/>
              <a:gd name="connsiteX79" fmla="*/ 647510 w 7482459"/>
              <a:gd name="connsiteY79" fmla="*/ 650558 h 963549"/>
              <a:gd name="connsiteX80" fmla="*/ 603409 w 7482459"/>
              <a:gd name="connsiteY80" fmla="*/ 716852 h 963549"/>
              <a:gd name="connsiteX81" fmla="*/ 563404 w 7482459"/>
              <a:gd name="connsiteY81" fmla="*/ 649700 h 963549"/>
              <a:gd name="connsiteX82" fmla="*/ 563404 w 7482459"/>
              <a:gd name="connsiteY82" fmla="*/ 578644 h 963549"/>
              <a:gd name="connsiteX83" fmla="*/ 537496 w 7482459"/>
              <a:gd name="connsiteY83" fmla="*/ 536258 h 963549"/>
              <a:gd name="connsiteX84" fmla="*/ 537496 w 7482459"/>
              <a:gd name="connsiteY84" fmla="*/ 436721 h 963549"/>
              <a:gd name="connsiteX85" fmla="*/ 498824 w 7482459"/>
              <a:gd name="connsiteY85" fmla="*/ 368999 h 963549"/>
              <a:gd name="connsiteX86" fmla="*/ 581120 w 7482459"/>
              <a:gd name="connsiteY86" fmla="*/ 368999 h 963549"/>
              <a:gd name="connsiteX87" fmla="*/ 627698 w 7482459"/>
              <a:gd name="connsiteY87" fmla="*/ 443579 h 963549"/>
              <a:gd name="connsiteX88" fmla="*/ 592550 w 7482459"/>
              <a:gd name="connsiteY88" fmla="*/ 496729 h 963549"/>
              <a:gd name="connsiteX0" fmla="*/ 8451880 w 8451880"/>
              <a:gd name="connsiteY0" fmla="*/ 0 h 963549"/>
              <a:gd name="connsiteX1" fmla="*/ 439579 w 8451880"/>
              <a:gd name="connsiteY1" fmla="*/ 0 h 963549"/>
              <a:gd name="connsiteX2" fmla="*/ 399955 w 8451880"/>
              <a:gd name="connsiteY2" fmla="*/ 72009 h 963549"/>
              <a:gd name="connsiteX3" fmla="*/ 351377 w 8451880"/>
              <a:gd name="connsiteY3" fmla="*/ 72390 h 963549"/>
              <a:gd name="connsiteX4" fmla="*/ 307467 w 8451880"/>
              <a:gd name="connsiteY4" fmla="*/ 0 h 963549"/>
              <a:gd name="connsiteX5" fmla="*/ 118967 w 8451880"/>
              <a:gd name="connsiteY5" fmla="*/ 0 h 963549"/>
              <a:gd name="connsiteX6" fmla="*/ 0 w 8451880"/>
              <a:gd name="connsiteY6" fmla="*/ 199739 h 963549"/>
              <a:gd name="connsiteX7" fmla="*/ 0 w 8451880"/>
              <a:gd name="connsiteY7" fmla="*/ 342138 h 963549"/>
              <a:gd name="connsiteX8" fmla="*/ 78296 w 8451880"/>
              <a:gd name="connsiteY8" fmla="*/ 463772 h 963549"/>
              <a:gd name="connsiteX9" fmla="*/ 204216 w 8451880"/>
              <a:gd name="connsiteY9" fmla="*/ 463772 h 963549"/>
              <a:gd name="connsiteX10" fmla="*/ 219647 w 8451880"/>
              <a:gd name="connsiteY10" fmla="*/ 437007 h 963549"/>
              <a:gd name="connsiteX11" fmla="*/ 381000 w 8451880"/>
              <a:gd name="connsiteY11" fmla="*/ 437007 h 963549"/>
              <a:gd name="connsiteX12" fmla="*/ 399288 w 8451880"/>
              <a:gd name="connsiteY12" fmla="*/ 469773 h 963549"/>
              <a:gd name="connsiteX13" fmla="*/ 399288 w 8451880"/>
              <a:gd name="connsiteY13" fmla="*/ 568071 h 963549"/>
              <a:gd name="connsiteX14" fmla="*/ 434245 w 8451880"/>
              <a:gd name="connsiteY14" fmla="*/ 628841 h 963549"/>
              <a:gd name="connsiteX15" fmla="*/ 434054 w 8451880"/>
              <a:gd name="connsiteY15" fmla="*/ 693325 h 963549"/>
              <a:gd name="connsiteX16" fmla="*/ 492728 w 8451880"/>
              <a:gd name="connsiteY16" fmla="*/ 800005 h 963549"/>
              <a:gd name="connsiteX17" fmla="*/ 492728 w 8451880"/>
              <a:gd name="connsiteY17" fmla="*/ 884873 h 963549"/>
              <a:gd name="connsiteX18" fmla="*/ 559118 w 8451880"/>
              <a:gd name="connsiteY18" fmla="*/ 962978 h 963549"/>
              <a:gd name="connsiteX19" fmla="*/ 645414 w 8451880"/>
              <a:gd name="connsiteY19" fmla="*/ 963549 h 963549"/>
              <a:gd name="connsiteX20" fmla="*/ 688372 w 8451880"/>
              <a:gd name="connsiteY20" fmla="*/ 892112 h 963549"/>
              <a:gd name="connsiteX21" fmla="*/ 688372 w 8451880"/>
              <a:gd name="connsiteY21" fmla="*/ 837914 h 963549"/>
              <a:gd name="connsiteX22" fmla="*/ 784479 w 8451880"/>
              <a:gd name="connsiteY22" fmla="*/ 687229 h 963549"/>
              <a:gd name="connsiteX23" fmla="*/ 784479 w 8451880"/>
              <a:gd name="connsiteY23" fmla="*/ 586169 h 963549"/>
              <a:gd name="connsiteX24" fmla="*/ 831152 w 8451880"/>
              <a:gd name="connsiteY24" fmla="*/ 512636 h 963549"/>
              <a:gd name="connsiteX25" fmla="*/ 886968 w 8451880"/>
              <a:gd name="connsiteY25" fmla="*/ 513207 h 963549"/>
              <a:gd name="connsiteX26" fmla="*/ 979075 w 8451880"/>
              <a:gd name="connsiteY26" fmla="*/ 352139 h 963549"/>
              <a:gd name="connsiteX27" fmla="*/ 809530 w 8451880"/>
              <a:gd name="connsiteY27" fmla="*/ 352139 h 963549"/>
              <a:gd name="connsiteX28" fmla="*/ 761333 w 8451880"/>
              <a:gd name="connsiteY28" fmla="*/ 269367 h 963549"/>
              <a:gd name="connsiteX29" fmla="*/ 761429 w 8451880"/>
              <a:gd name="connsiteY29" fmla="*/ 189357 h 963549"/>
              <a:gd name="connsiteX30" fmla="*/ 681419 w 8451880"/>
              <a:gd name="connsiteY30" fmla="*/ 77438 h 963549"/>
              <a:gd name="connsiteX31" fmla="*/ 655511 w 8451880"/>
              <a:gd name="connsiteY31" fmla="*/ 77438 h 963549"/>
              <a:gd name="connsiteX32" fmla="*/ 487299 w 8451880"/>
              <a:gd name="connsiteY32" fmla="*/ 77438 h 963549"/>
              <a:gd name="connsiteX33" fmla="*/ 443293 w 8451880"/>
              <a:gd name="connsiteY33" fmla="*/ 153448 h 963549"/>
              <a:gd name="connsiteX34" fmla="*/ 316421 w 8451880"/>
              <a:gd name="connsiteY34" fmla="*/ 153448 h 963549"/>
              <a:gd name="connsiteX35" fmla="*/ 265843 w 8451880"/>
              <a:gd name="connsiteY35" fmla="*/ 67056 h 963549"/>
              <a:gd name="connsiteX36" fmla="*/ 159639 w 8451880"/>
              <a:gd name="connsiteY36" fmla="*/ 67056 h 963549"/>
              <a:gd name="connsiteX37" fmla="*/ 71914 w 8451880"/>
              <a:gd name="connsiteY37" fmla="*/ 225457 h 963549"/>
              <a:gd name="connsiteX38" fmla="*/ 71914 w 8451880"/>
              <a:gd name="connsiteY38" fmla="*/ 311753 h 963549"/>
              <a:gd name="connsiteX39" fmla="*/ 121825 w 8451880"/>
              <a:gd name="connsiteY39" fmla="*/ 393192 h 963549"/>
              <a:gd name="connsiteX40" fmla="*/ 160687 w 8451880"/>
              <a:gd name="connsiteY40" fmla="*/ 393192 h 963549"/>
              <a:gd name="connsiteX41" fmla="*/ 173260 w 8451880"/>
              <a:gd name="connsiteY41" fmla="*/ 370332 h 963549"/>
              <a:gd name="connsiteX42" fmla="*/ 416433 w 8451880"/>
              <a:gd name="connsiteY42" fmla="*/ 370332 h 963549"/>
              <a:gd name="connsiteX43" fmla="*/ 465392 w 8451880"/>
              <a:gd name="connsiteY43" fmla="*/ 455676 h 963549"/>
              <a:gd name="connsiteX44" fmla="*/ 465392 w 8451880"/>
              <a:gd name="connsiteY44" fmla="*/ 556736 h 963549"/>
              <a:gd name="connsiteX45" fmla="*/ 500443 w 8451880"/>
              <a:gd name="connsiteY45" fmla="*/ 616839 h 963549"/>
              <a:gd name="connsiteX46" fmla="*/ 500443 w 8451880"/>
              <a:gd name="connsiteY46" fmla="*/ 678275 h 963549"/>
              <a:gd name="connsiteX47" fmla="*/ 563309 w 8451880"/>
              <a:gd name="connsiteY47" fmla="*/ 783527 h 963549"/>
              <a:gd name="connsiteX48" fmla="*/ 563309 w 8451880"/>
              <a:gd name="connsiteY48" fmla="*/ 847344 h 963549"/>
              <a:gd name="connsiteX49" fmla="*/ 594932 w 8451880"/>
              <a:gd name="connsiteY49" fmla="*/ 888492 h 963549"/>
              <a:gd name="connsiteX50" fmla="*/ 609124 w 8451880"/>
              <a:gd name="connsiteY50" fmla="*/ 888492 h 963549"/>
              <a:gd name="connsiteX51" fmla="*/ 628460 w 8451880"/>
              <a:gd name="connsiteY51" fmla="*/ 856488 h 963549"/>
              <a:gd name="connsiteX52" fmla="*/ 628460 w 8451880"/>
              <a:gd name="connsiteY52" fmla="*/ 810292 h 963549"/>
              <a:gd name="connsiteX53" fmla="*/ 717899 w 8451880"/>
              <a:gd name="connsiteY53" fmla="*/ 667226 h 963549"/>
              <a:gd name="connsiteX54" fmla="*/ 718566 w 8451880"/>
              <a:gd name="connsiteY54" fmla="*/ 556165 h 963549"/>
              <a:gd name="connsiteX55" fmla="*/ 790956 w 8451880"/>
              <a:gd name="connsiteY55" fmla="*/ 448056 h 963549"/>
              <a:gd name="connsiteX56" fmla="*/ 843725 w 8451880"/>
              <a:gd name="connsiteY56" fmla="*/ 447770 h 963549"/>
              <a:gd name="connsiteX57" fmla="*/ 861060 w 8451880"/>
              <a:gd name="connsiteY57" fmla="*/ 419957 h 963549"/>
              <a:gd name="connsiteX58" fmla="*/ 767239 w 8451880"/>
              <a:gd name="connsiteY58" fmla="*/ 419957 h 963549"/>
              <a:gd name="connsiteX59" fmla="*/ 691229 w 8451880"/>
              <a:gd name="connsiteY59" fmla="*/ 291370 h 963549"/>
              <a:gd name="connsiteX60" fmla="*/ 689229 w 8451880"/>
              <a:gd name="connsiteY60" fmla="*/ 210407 h 963549"/>
              <a:gd name="connsiteX61" fmla="*/ 640271 w 8451880"/>
              <a:gd name="connsiteY61" fmla="*/ 144399 h 963549"/>
              <a:gd name="connsiteX62" fmla="*/ 532352 w 8451880"/>
              <a:gd name="connsiteY62" fmla="*/ 143447 h 963549"/>
              <a:gd name="connsiteX63" fmla="*/ 483108 w 8451880"/>
              <a:gd name="connsiteY63" fmla="*/ 228410 h 963549"/>
              <a:gd name="connsiteX64" fmla="*/ 271082 w 8451880"/>
              <a:gd name="connsiteY64" fmla="*/ 228410 h 963549"/>
              <a:gd name="connsiteX65" fmla="*/ 227743 w 8451880"/>
              <a:gd name="connsiteY65" fmla="*/ 156782 h 963549"/>
              <a:gd name="connsiteX66" fmla="*/ 200216 w 8451880"/>
              <a:gd name="connsiteY66" fmla="*/ 156782 h 963549"/>
              <a:gd name="connsiteX67" fmla="*/ 152019 w 8451880"/>
              <a:gd name="connsiteY67" fmla="*/ 248126 h 963549"/>
              <a:gd name="connsiteX68" fmla="*/ 150781 w 8451880"/>
              <a:gd name="connsiteY68" fmla="*/ 298990 h 963549"/>
              <a:gd name="connsiteX69" fmla="*/ 153638 w 8451880"/>
              <a:gd name="connsiteY69" fmla="*/ 303562 h 963549"/>
              <a:gd name="connsiteX70" fmla="*/ 157353 w 8451880"/>
              <a:gd name="connsiteY70" fmla="*/ 303467 h 963549"/>
              <a:gd name="connsiteX71" fmla="*/ 161068 w 8451880"/>
              <a:gd name="connsiteY71" fmla="*/ 298990 h 963549"/>
              <a:gd name="connsiteX72" fmla="*/ 525304 w 8451880"/>
              <a:gd name="connsiteY72" fmla="*/ 299180 h 963549"/>
              <a:gd name="connsiteX73" fmla="*/ 578739 w 8451880"/>
              <a:gd name="connsiteY73" fmla="*/ 213741 h 963549"/>
              <a:gd name="connsiteX74" fmla="*/ 607314 w 8451880"/>
              <a:gd name="connsiteY74" fmla="*/ 213741 h 963549"/>
              <a:gd name="connsiteX75" fmla="*/ 629317 w 8451880"/>
              <a:gd name="connsiteY75" fmla="*/ 242697 h 963549"/>
              <a:gd name="connsiteX76" fmla="*/ 629317 w 8451880"/>
              <a:gd name="connsiteY76" fmla="*/ 322326 h 963549"/>
              <a:gd name="connsiteX77" fmla="*/ 704945 w 8451880"/>
              <a:gd name="connsiteY77" fmla="*/ 449294 h 963549"/>
              <a:gd name="connsiteX78" fmla="*/ 648938 w 8451880"/>
              <a:gd name="connsiteY78" fmla="*/ 533400 h 963549"/>
              <a:gd name="connsiteX79" fmla="*/ 647510 w 8451880"/>
              <a:gd name="connsiteY79" fmla="*/ 650558 h 963549"/>
              <a:gd name="connsiteX80" fmla="*/ 603409 w 8451880"/>
              <a:gd name="connsiteY80" fmla="*/ 716852 h 963549"/>
              <a:gd name="connsiteX81" fmla="*/ 563404 w 8451880"/>
              <a:gd name="connsiteY81" fmla="*/ 649700 h 963549"/>
              <a:gd name="connsiteX82" fmla="*/ 563404 w 8451880"/>
              <a:gd name="connsiteY82" fmla="*/ 578644 h 963549"/>
              <a:gd name="connsiteX83" fmla="*/ 537496 w 8451880"/>
              <a:gd name="connsiteY83" fmla="*/ 536258 h 963549"/>
              <a:gd name="connsiteX84" fmla="*/ 537496 w 8451880"/>
              <a:gd name="connsiteY84" fmla="*/ 436721 h 963549"/>
              <a:gd name="connsiteX85" fmla="*/ 498824 w 8451880"/>
              <a:gd name="connsiteY85" fmla="*/ 368999 h 963549"/>
              <a:gd name="connsiteX86" fmla="*/ 581120 w 8451880"/>
              <a:gd name="connsiteY86" fmla="*/ 368999 h 963549"/>
              <a:gd name="connsiteX87" fmla="*/ 627698 w 8451880"/>
              <a:gd name="connsiteY87" fmla="*/ 443579 h 963549"/>
              <a:gd name="connsiteX88" fmla="*/ 592550 w 8451880"/>
              <a:gd name="connsiteY88" fmla="*/ 496729 h 963549"/>
              <a:gd name="connsiteX0" fmla="*/ 14996512 w 14996512"/>
              <a:gd name="connsiteY0" fmla="*/ 19893 h 963549"/>
              <a:gd name="connsiteX1" fmla="*/ 439579 w 14996512"/>
              <a:gd name="connsiteY1" fmla="*/ 0 h 963549"/>
              <a:gd name="connsiteX2" fmla="*/ 399955 w 14996512"/>
              <a:gd name="connsiteY2" fmla="*/ 72009 h 963549"/>
              <a:gd name="connsiteX3" fmla="*/ 351377 w 14996512"/>
              <a:gd name="connsiteY3" fmla="*/ 72390 h 963549"/>
              <a:gd name="connsiteX4" fmla="*/ 307467 w 14996512"/>
              <a:gd name="connsiteY4" fmla="*/ 0 h 963549"/>
              <a:gd name="connsiteX5" fmla="*/ 118967 w 14996512"/>
              <a:gd name="connsiteY5" fmla="*/ 0 h 963549"/>
              <a:gd name="connsiteX6" fmla="*/ 0 w 14996512"/>
              <a:gd name="connsiteY6" fmla="*/ 199739 h 963549"/>
              <a:gd name="connsiteX7" fmla="*/ 0 w 14996512"/>
              <a:gd name="connsiteY7" fmla="*/ 342138 h 963549"/>
              <a:gd name="connsiteX8" fmla="*/ 78296 w 14996512"/>
              <a:gd name="connsiteY8" fmla="*/ 463772 h 963549"/>
              <a:gd name="connsiteX9" fmla="*/ 204216 w 14996512"/>
              <a:gd name="connsiteY9" fmla="*/ 463772 h 963549"/>
              <a:gd name="connsiteX10" fmla="*/ 219647 w 14996512"/>
              <a:gd name="connsiteY10" fmla="*/ 437007 h 963549"/>
              <a:gd name="connsiteX11" fmla="*/ 381000 w 14996512"/>
              <a:gd name="connsiteY11" fmla="*/ 437007 h 963549"/>
              <a:gd name="connsiteX12" fmla="*/ 399288 w 14996512"/>
              <a:gd name="connsiteY12" fmla="*/ 469773 h 963549"/>
              <a:gd name="connsiteX13" fmla="*/ 399288 w 14996512"/>
              <a:gd name="connsiteY13" fmla="*/ 568071 h 963549"/>
              <a:gd name="connsiteX14" fmla="*/ 434245 w 14996512"/>
              <a:gd name="connsiteY14" fmla="*/ 628841 h 963549"/>
              <a:gd name="connsiteX15" fmla="*/ 434054 w 14996512"/>
              <a:gd name="connsiteY15" fmla="*/ 693325 h 963549"/>
              <a:gd name="connsiteX16" fmla="*/ 492728 w 14996512"/>
              <a:gd name="connsiteY16" fmla="*/ 800005 h 963549"/>
              <a:gd name="connsiteX17" fmla="*/ 492728 w 14996512"/>
              <a:gd name="connsiteY17" fmla="*/ 884873 h 963549"/>
              <a:gd name="connsiteX18" fmla="*/ 559118 w 14996512"/>
              <a:gd name="connsiteY18" fmla="*/ 962978 h 963549"/>
              <a:gd name="connsiteX19" fmla="*/ 645414 w 14996512"/>
              <a:gd name="connsiteY19" fmla="*/ 963549 h 963549"/>
              <a:gd name="connsiteX20" fmla="*/ 688372 w 14996512"/>
              <a:gd name="connsiteY20" fmla="*/ 892112 h 963549"/>
              <a:gd name="connsiteX21" fmla="*/ 688372 w 14996512"/>
              <a:gd name="connsiteY21" fmla="*/ 837914 h 963549"/>
              <a:gd name="connsiteX22" fmla="*/ 784479 w 14996512"/>
              <a:gd name="connsiteY22" fmla="*/ 687229 h 963549"/>
              <a:gd name="connsiteX23" fmla="*/ 784479 w 14996512"/>
              <a:gd name="connsiteY23" fmla="*/ 586169 h 963549"/>
              <a:gd name="connsiteX24" fmla="*/ 831152 w 14996512"/>
              <a:gd name="connsiteY24" fmla="*/ 512636 h 963549"/>
              <a:gd name="connsiteX25" fmla="*/ 886968 w 14996512"/>
              <a:gd name="connsiteY25" fmla="*/ 513207 h 963549"/>
              <a:gd name="connsiteX26" fmla="*/ 979075 w 14996512"/>
              <a:gd name="connsiteY26" fmla="*/ 352139 h 963549"/>
              <a:gd name="connsiteX27" fmla="*/ 809530 w 14996512"/>
              <a:gd name="connsiteY27" fmla="*/ 352139 h 963549"/>
              <a:gd name="connsiteX28" fmla="*/ 761333 w 14996512"/>
              <a:gd name="connsiteY28" fmla="*/ 269367 h 963549"/>
              <a:gd name="connsiteX29" fmla="*/ 761429 w 14996512"/>
              <a:gd name="connsiteY29" fmla="*/ 189357 h 963549"/>
              <a:gd name="connsiteX30" fmla="*/ 681419 w 14996512"/>
              <a:gd name="connsiteY30" fmla="*/ 77438 h 963549"/>
              <a:gd name="connsiteX31" fmla="*/ 655511 w 14996512"/>
              <a:gd name="connsiteY31" fmla="*/ 77438 h 963549"/>
              <a:gd name="connsiteX32" fmla="*/ 487299 w 14996512"/>
              <a:gd name="connsiteY32" fmla="*/ 77438 h 963549"/>
              <a:gd name="connsiteX33" fmla="*/ 443293 w 14996512"/>
              <a:gd name="connsiteY33" fmla="*/ 153448 h 963549"/>
              <a:gd name="connsiteX34" fmla="*/ 316421 w 14996512"/>
              <a:gd name="connsiteY34" fmla="*/ 153448 h 963549"/>
              <a:gd name="connsiteX35" fmla="*/ 265843 w 14996512"/>
              <a:gd name="connsiteY35" fmla="*/ 67056 h 963549"/>
              <a:gd name="connsiteX36" fmla="*/ 159639 w 14996512"/>
              <a:gd name="connsiteY36" fmla="*/ 67056 h 963549"/>
              <a:gd name="connsiteX37" fmla="*/ 71914 w 14996512"/>
              <a:gd name="connsiteY37" fmla="*/ 225457 h 963549"/>
              <a:gd name="connsiteX38" fmla="*/ 71914 w 14996512"/>
              <a:gd name="connsiteY38" fmla="*/ 311753 h 963549"/>
              <a:gd name="connsiteX39" fmla="*/ 121825 w 14996512"/>
              <a:gd name="connsiteY39" fmla="*/ 393192 h 963549"/>
              <a:gd name="connsiteX40" fmla="*/ 160687 w 14996512"/>
              <a:gd name="connsiteY40" fmla="*/ 393192 h 963549"/>
              <a:gd name="connsiteX41" fmla="*/ 173260 w 14996512"/>
              <a:gd name="connsiteY41" fmla="*/ 370332 h 963549"/>
              <a:gd name="connsiteX42" fmla="*/ 416433 w 14996512"/>
              <a:gd name="connsiteY42" fmla="*/ 370332 h 963549"/>
              <a:gd name="connsiteX43" fmla="*/ 465392 w 14996512"/>
              <a:gd name="connsiteY43" fmla="*/ 455676 h 963549"/>
              <a:gd name="connsiteX44" fmla="*/ 465392 w 14996512"/>
              <a:gd name="connsiteY44" fmla="*/ 556736 h 963549"/>
              <a:gd name="connsiteX45" fmla="*/ 500443 w 14996512"/>
              <a:gd name="connsiteY45" fmla="*/ 616839 h 963549"/>
              <a:gd name="connsiteX46" fmla="*/ 500443 w 14996512"/>
              <a:gd name="connsiteY46" fmla="*/ 678275 h 963549"/>
              <a:gd name="connsiteX47" fmla="*/ 563309 w 14996512"/>
              <a:gd name="connsiteY47" fmla="*/ 783527 h 963549"/>
              <a:gd name="connsiteX48" fmla="*/ 563309 w 14996512"/>
              <a:gd name="connsiteY48" fmla="*/ 847344 h 963549"/>
              <a:gd name="connsiteX49" fmla="*/ 594932 w 14996512"/>
              <a:gd name="connsiteY49" fmla="*/ 888492 h 963549"/>
              <a:gd name="connsiteX50" fmla="*/ 609124 w 14996512"/>
              <a:gd name="connsiteY50" fmla="*/ 888492 h 963549"/>
              <a:gd name="connsiteX51" fmla="*/ 628460 w 14996512"/>
              <a:gd name="connsiteY51" fmla="*/ 856488 h 963549"/>
              <a:gd name="connsiteX52" fmla="*/ 628460 w 14996512"/>
              <a:gd name="connsiteY52" fmla="*/ 810292 h 963549"/>
              <a:gd name="connsiteX53" fmla="*/ 717899 w 14996512"/>
              <a:gd name="connsiteY53" fmla="*/ 667226 h 963549"/>
              <a:gd name="connsiteX54" fmla="*/ 718566 w 14996512"/>
              <a:gd name="connsiteY54" fmla="*/ 556165 h 963549"/>
              <a:gd name="connsiteX55" fmla="*/ 790956 w 14996512"/>
              <a:gd name="connsiteY55" fmla="*/ 448056 h 963549"/>
              <a:gd name="connsiteX56" fmla="*/ 843725 w 14996512"/>
              <a:gd name="connsiteY56" fmla="*/ 447770 h 963549"/>
              <a:gd name="connsiteX57" fmla="*/ 861060 w 14996512"/>
              <a:gd name="connsiteY57" fmla="*/ 419957 h 963549"/>
              <a:gd name="connsiteX58" fmla="*/ 767239 w 14996512"/>
              <a:gd name="connsiteY58" fmla="*/ 419957 h 963549"/>
              <a:gd name="connsiteX59" fmla="*/ 691229 w 14996512"/>
              <a:gd name="connsiteY59" fmla="*/ 291370 h 963549"/>
              <a:gd name="connsiteX60" fmla="*/ 689229 w 14996512"/>
              <a:gd name="connsiteY60" fmla="*/ 210407 h 963549"/>
              <a:gd name="connsiteX61" fmla="*/ 640271 w 14996512"/>
              <a:gd name="connsiteY61" fmla="*/ 144399 h 963549"/>
              <a:gd name="connsiteX62" fmla="*/ 532352 w 14996512"/>
              <a:gd name="connsiteY62" fmla="*/ 143447 h 963549"/>
              <a:gd name="connsiteX63" fmla="*/ 483108 w 14996512"/>
              <a:gd name="connsiteY63" fmla="*/ 228410 h 963549"/>
              <a:gd name="connsiteX64" fmla="*/ 271082 w 14996512"/>
              <a:gd name="connsiteY64" fmla="*/ 228410 h 963549"/>
              <a:gd name="connsiteX65" fmla="*/ 227743 w 14996512"/>
              <a:gd name="connsiteY65" fmla="*/ 156782 h 963549"/>
              <a:gd name="connsiteX66" fmla="*/ 200216 w 14996512"/>
              <a:gd name="connsiteY66" fmla="*/ 156782 h 963549"/>
              <a:gd name="connsiteX67" fmla="*/ 152019 w 14996512"/>
              <a:gd name="connsiteY67" fmla="*/ 248126 h 963549"/>
              <a:gd name="connsiteX68" fmla="*/ 150781 w 14996512"/>
              <a:gd name="connsiteY68" fmla="*/ 298990 h 963549"/>
              <a:gd name="connsiteX69" fmla="*/ 153638 w 14996512"/>
              <a:gd name="connsiteY69" fmla="*/ 303562 h 963549"/>
              <a:gd name="connsiteX70" fmla="*/ 157353 w 14996512"/>
              <a:gd name="connsiteY70" fmla="*/ 303467 h 963549"/>
              <a:gd name="connsiteX71" fmla="*/ 161068 w 14996512"/>
              <a:gd name="connsiteY71" fmla="*/ 298990 h 963549"/>
              <a:gd name="connsiteX72" fmla="*/ 525304 w 14996512"/>
              <a:gd name="connsiteY72" fmla="*/ 299180 h 963549"/>
              <a:gd name="connsiteX73" fmla="*/ 578739 w 14996512"/>
              <a:gd name="connsiteY73" fmla="*/ 213741 h 963549"/>
              <a:gd name="connsiteX74" fmla="*/ 607314 w 14996512"/>
              <a:gd name="connsiteY74" fmla="*/ 213741 h 963549"/>
              <a:gd name="connsiteX75" fmla="*/ 629317 w 14996512"/>
              <a:gd name="connsiteY75" fmla="*/ 242697 h 963549"/>
              <a:gd name="connsiteX76" fmla="*/ 629317 w 14996512"/>
              <a:gd name="connsiteY76" fmla="*/ 322326 h 963549"/>
              <a:gd name="connsiteX77" fmla="*/ 704945 w 14996512"/>
              <a:gd name="connsiteY77" fmla="*/ 449294 h 963549"/>
              <a:gd name="connsiteX78" fmla="*/ 648938 w 14996512"/>
              <a:gd name="connsiteY78" fmla="*/ 533400 h 963549"/>
              <a:gd name="connsiteX79" fmla="*/ 647510 w 14996512"/>
              <a:gd name="connsiteY79" fmla="*/ 650558 h 963549"/>
              <a:gd name="connsiteX80" fmla="*/ 603409 w 14996512"/>
              <a:gd name="connsiteY80" fmla="*/ 716852 h 963549"/>
              <a:gd name="connsiteX81" fmla="*/ 563404 w 14996512"/>
              <a:gd name="connsiteY81" fmla="*/ 649700 h 963549"/>
              <a:gd name="connsiteX82" fmla="*/ 563404 w 14996512"/>
              <a:gd name="connsiteY82" fmla="*/ 578644 h 963549"/>
              <a:gd name="connsiteX83" fmla="*/ 537496 w 14996512"/>
              <a:gd name="connsiteY83" fmla="*/ 536258 h 963549"/>
              <a:gd name="connsiteX84" fmla="*/ 537496 w 14996512"/>
              <a:gd name="connsiteY84" fmla="*/ 436721 h 963549"/>
              <a:gd name="connsiteX85" fmla="*/ 498824 w 14996512"/>
              <a:gd name="connsiteY85" fmla="*/ 368999 h 963549"/>
              <a:gd name="connsiteX86" fmla="*/ 581120 w 14996512"/>
              <a:gd name="connsiteY86" fmla="*/ 368999 h 963549"/>
              <a:gd name="connsiteX87" fmla="*/ 627698 w 14996512"/>
              <a:gd name="connsiteY87" fmla="*/ 443579 h 963549"/>
              <a:gd name="connsiteX88" fmla="*/ 592550 w 14996512"/>
              <a:gd name="connsiteY88" fmla="*/ 496729 h 963549"/>
              <a:gd name="connsiteX0" fmla="*/ 15115867 w 15115867"/>
              <a:gd name="connsiteY0" fmla="*/ 0 h 1023226"/>
              <a:gd name="connsiteX1" fmla="*/ 439579 w 15115867"/>
              <a:gd name="connsiteY1" fmla="*/ 59677 h 1023226"/>
              <a:gd name="connsiteX2" fmla="*/ 399955 w 15115867"/>
              <a:gd name="connsiteY2" fmla="*/ 131686 h 1023226"/>
              <a:gd name="connsiteX3" fmla="*/ 351377 w 15115867"/>
              <a:gd name="connsiteY3" fmla="*/ 132067 h 1023226"/>
              <a:gd name="connsiteX4" fmla="*/ 307467 w 15115867"/>
              <a:gd name="connsiteY4" fmla="*/ 59677 h 1023226"/>
              <a:gd name="connsiteX5" fmla="*/ 118967 w 15115867"/>
              <a:gd name="connsiteY5" fmla="*/ 59677 h 1023226"/>
              <a:gd name="connsiteX6" fmla="*/ 0 w 15115867"/>
              <a:gd name="connsiteY6" fmla="*/ 259416 h 1023226"/>
              <a:gd name="connsiteX7" fmla="*/ 0 w 15115867"/>
              <a:gd name="connsiteY7" fmla="*/ 401815 h 1023226"/>
              <a:gd name="connsiteX8" fmla="*/ 78296 w 15115867"/>
              <a:gd name="connsiteY8" fmla="*/ 523449 h 1023226"/>
              <a:gd name="connsiteX9" fmla="*/ 204216 w 15115867"/>
              <a:gd name="connsiteY9" fmla="*/ 523449 h 1023226"/>
              <a:gd name="connsiteX10" fmla="*/ 219647 w 15115867"/>
              <a:gd name="connsiteY10" fmla="*/ 496684 h 1023226"/>
              <a:gd name="connsiteX11" fmla="*/ 381000 w 15115867"/>
              <a:gd name="connsiteY11" fmla="*/ 496684 h 1023226"/>
              <a:gd name="connsiteX12" fmla="*/ 399288 w 15115867"/>
              <a:gd name="connsiteY12" fmla="*/ 529450 h 1023226"/>
              <a:gd name="connsiteX13" fmla="*/ 399288 w 15115867"/>
              <a:gd name="connsiteY13" fmla="*/ 627748 h 1023226"/>
              <a:gd name="connsiteX14" fmla="*/ 434245 w 15115867"/>
              <a:gd name="connsiteY14" fmla="*/ 688518 h 1023226"/>
              <a:gd name="connsiteX15" fmla="*/ 434054 w 15115867"/>
              <a:gd name="connsiteY15" fmla="*/ 753002 h 1023226"/>
              <a:gd name="connsiteX16" fmla="*/ 492728 w 15115867"/>
              <a:gd name="connsiteY16" fmla="*/ 859682 h 1023226"/>
              <a:gd name="connsiteX17" fmla="*/ 492728 w 15115867"/>
              <a:gd name="connsiteY17" fmla="*/ 944550 h 1023226"/>
              <a:gd name="connsiteX18" fmla="*/ 559118 w 15115867"/>
              <a:gd name="connsiteY18" fmla="*/ 1022655 h 1023226"/>
              <a:gd name="connsiteX19" fmla="*/ 645414 w 15115867"/>
              <a:gd name="connsiteY19" fmla="*/ 1023226 h 1023226"/>
              <a:gd name="connsiteX20" fmla="*/ 688372 w 15115867"/>
              <a:gd name="connsiteY20" fmla="*/ 951789 h 1023226"/>
              <a:gd name="connsiteX21" fmla="*/ 688372 w 15115867"/>
              <a:gd name="connsiteY21" fmla="*/ 897591 h 1023226"/>
              <a:gd name="connsiteX22" fmla="*/ 784479 w 15115867"/>
              <a:gd name="connsiteY22" fmla="*/ 746906 h 1023226"/>
              <a:gd name="connsiteX23" fmla="*/ 784479 w 15115867"/>
              <a:gd name="connsiteY23" fmla="*/ 645846 h 1023226"/>
              <a:gd name="connsiteX24" fmla="*/ 831152 w 15115867"/>
              <a:gd name="connsiteY24" fmla="*/ 572313 h 1023226"/>
              <a:gd name="connsiteX25" fmla="*/ 886968 w 15115867"/>
              <a:gd name="connsiteY25" fmla="*/ 572884 h 1023226"/>
              <a:gd name="connsiteX26" fmla="*/ 979075 w 15115867"/>
              <a:gd name="connsiteY26" fmla="*/ 411816 h 1023226"/>
              <a:gd name="connsiteX27" fmla="*/ 809530 w 15115867"/>
              <a:gd name="connsiteY27" fmla="*/ 411816 h 1023226"/>
              <a:gd name="connsiteX28" fmla="*/ 761333 w 15115867"/>
              <a:gd name="connsiteY28" fmla="*/ 329044 h 1023226"/>
              <a:gd name="connsiteX29" fmla="*/ 761429 w 15115867"/>
              <a:gd name="connsiteY29" fmla="*/ 249034 h 1023226"/>
              <a:gd name="connsiteX30" fmla="*/ 681419 w 15115867"/>
              <a:gd name="connsiteY30" fmla="*/ 137115 h 1023226"/>
              <a:gd name="connsiteX31" fmla="*/ 655511 w 15115867"/>
              <a:gd name="connsiteY31" fmla="*/ 137115 h 1023226"/>
              <a:gd name="connsiteX32" fmla="*/ 487299 w 15115867"/>
              <a:gd name="connsiteY32" fmla="*/ 137115 h 1023226"/>
              <a:gd name="connsiteX33" fmla="*/ 443293 w 15115867"/>
              <a:gd name="connsiteY33" fmla="*/ 213125 h 1023226"/>
              <a:gd name="connsiteX34" fmla="*/ 316421 w 15115867"/>
              <a:gd name="connsiteY34" fmla="*/ 213125 h 1023226"/>
              <a:gd name="connsiteX35" fmla="*/ 265843 w 15115867"/>
              <a:gd name="connsiteY35" fmla="*/ 126733 h 1023226"/>
              <a:gd name="connsiteX36" fmla="*/ 159639 w 15115867"/>
              <a:gd name="connsiteY36" fmla="*/ 126733 h 1023226"/>
              <a:gd name="connsiteX37" fmla="*/ 71914 w 15115867"/>
              <a:gd name="connsiteY37" fmla="*/ 285134 h 1023226"/>
              <a:gd name="connsiteX38" fmla="*/ 71914 w 15115867"/>
              <a:gd name="connsiteY38" fmla="*/ 371430 h 1023226"/>
              <a:gd name="connsiteX39" fmla="*/ 121825 w 15115867"/>
              <a:gd name="connsiteY39" fmla="*/ 452869 h 1023226"/>
              <a:gd name="connsiteX40" fmla="*/ 160687 w 15115867"/>
              <a:gd name="connsiteY40" fmla="*/ 452869 h 1023226"/>
              <a:gd name="connsiteX41" fmla="*/ 173260 w 15115867"/>
              <a:gd name="connsiteY41" fmla="*/ 430009 h 1023226"/>
              <a:gd name="connsiteX42" fmla="*/ 416433 w 15115867"/>
              <a:gd name="connsiteY42" fmla="*/ 430009 h 1023226"/>
              <a:gd name="connsiteX43" fmla="*/ 465392 w 15115867"/>
              <a:gd name="connsiteY43" fmla="*/ 515353 h 1023226"/>
              <a:gd name="connsiteX44" fmla="*/ 465392 w 15115867"/>
              <a:gd name="connsiteY44" fmla="*/ 616413 h 1023226"/>
              <a:gd name="connsiteX45" fmla="*/ 500443 w 15115867"/>
              <a:gd name="connsiteY45" fmla="*/ 676516 h 1023226"/>
              <a:gd name="connsiteX46" fmla="*/ 500443 w 15115867"/>
              <a:gd name="connsiteY46" fmla="*/ 737952 h 1023226"/>
              <a:gd name="connsiteX47" fmla="*/ 563309 w 15115867"/>
              <a:gd name="connsiteY47" fmla="*/ 843204 h 1023226"/>
              <a:gd name="connsiteX48" fmla="*/ 563309 w 15115867"/>
              <a:gd name="connsiteY48" fmla="*/ 907021 h 1023226"/>
              <a:gd name="connsiteX49" fmla="*/ 594932 w 15115867"/>
              <a:gd name="connsiteY49" fmla="*/ 948169 h 1023226"/>
              <a:gd name="connsiteX50" fmla="*/ 609124 w 15115867"/>
              <a:gd name="connsiteY50" fmla="*/ 948169 h 1023226"/>
              <a:gd name="connsiteX51" fmla="*/ 628460 w 15115867"/>
              <a:gd name="connsiteY51" fmla="*/ 916165 h 1023226"/>
              <a:gd name="connsiteX52" fmla="*/ 628460 w 15115867"/>
              <a:gd name="connsiteY52" fmla="*/ 869969 h 1023226"/>
              <a:gd name="connsiteX53" fmla="*/ 717899 w 15115867"/>
              <a:gd name="connsiteY53" fmla="*/ 726903 h 1023226"/>
              <a:gd name="connsiteX54" fmla="*/ 718566 w 15115867"/>
              <a:gd name="connsiteY54" fmla="*/ 615842 h 1023226"/>
              <a:gd name="connsiteX55" fmla="*/ 790956 w 15115867"/>
              <a:gd name="connsiteY55" fmla="*/ 507733 h 1023226"/>
              <a:gd name="connsiteX56" fmla="*/ 843725 w 15115867"/>
              <a:gd name="connsiteY56" fmla="*/ 507447 h 1023226"/>
              <a:gd name="connsiteX57" fmla="*/ 861060 w 15115867"/>
              <a:gd name="connsiteY57" fmla="*/ 479634 h 1023226"/>
              <a:gd name="connsiteX58" fmla="*/ 767239 w 15115867"/>
              <a:gd name="connsiteY58" fmla="*/ 479634 h 1023226"/>
              <a:gd name="connsiteX59" fmla="*/ 691229 w 15115867"/>
              <a:gd name="connsiteY59" fmla="*/ 351047 h 1023226"/>
              <a:gd name="connsiteX60" fmla="*/ 689229 w 15115867"/>
              <a:gd name="connsiteY60" fmla="*/ 270084 h 1023226"/>
              <a:gd name="connsiteX61" fmla="*/ 640271 w 15115867"/>
              <a:gd name="connsiteY61" fmla="*/ 204076 h 1023226"/>
              <a:gd name="connsiteX62" fmla="*/ 532352 w 15115867"/>
              <a:gd name="connsiteY62" fmla="*/ 203124 h 1023226"/>
              <a:gd name="connsiteX63" fmla="*/ 483108 w 15115867"/>
              <a:gd name="connsiteY63" fmla="*/ 288087 h 1023226"/>
              <a:gd name="connsiteX64" fmla="*/ 271082 w 15115867"/>
              <a:gd name="connsiteY64" fmla="*/ 288087 h 1023226"/>
              <a:gd name="connsiteX65" fmla="*/ 227743 w 15115867"/>
              <a:gd name="connsiteY65" fmla="*/ 216459 h 1023226"/>
              <a:gd name="connsiteX66" fmla="*/ 200216 w 15115867"/>
              <a:gd name="connsiteY66" fmla="*/ 216459 h 1023226"/>
              <a:gd name="connsiteX67" fmla="*/ 152019 w 15115867"/>
              <a:gd name="connsiteY67" fmla="*/ 307803 h 1023226"/>
              <a:gd name="connsiteX68" fmla="*/ 150781 w 15115867"/>
              <a:gd name="connsiteY68" fmla="*/ 358667 h 1023226"/>
              <a:gd name="connsiteX69" fmla="*/ 153638 w 15115867"/>
              <a:gd name="connsiteY69" fmla="*/ 363239 h 1023226"/>
              <a:gd name="connsiteX70" fmla="*/ 157353 w 15115867"/>
              <a:gd name="connsiteY70" fmla="*/ 363144 h 1023226"/>
              <a:gd name="connsiteX71" fmla="*/ 161068 w 15115867"/>
              <a:gd name="connsiteY71" fmla="*/ 358667 h 1023226"/>
              <a:gd name="connsiteX72" fmla="*/ 525304 w 15115867"/>
              <a:gd name="connsiteY72" fmla="*/ 358857 h 1023226"/>
              <a:gd name="connsiteX73" fmla="*/ 578739 w 15115867"/>
              <a:gd name="connsiteY73" fmla="*/ 273418 h 1023226"/>
              <a:gd name="connsiteX74" fmla="*/ 607314 w 15115867"/>
              <a:gd name="connsiteY74" fmla="*/ 273418 h 1023226"/>
              <a:gd name="connsiteX75" fmla="*/ 629317 w 15115867"/>
              <a:gd name="connsiteY75" fmla="*/ 302374 h 1023226"/>
              <a:gd name="connsiteX76" fmla="*/ 629317 w 15115867"/>
              <a:gd name="connsiteY76" fmla="*/ 382003 h 1023226"/>
              <a:gd name="connsiteX77" fmla="*/ 704945 w 15115867"/>
              <a:gd name="connsiteY77" fmla="*/ 508971 h 1023226"/>
              <a:gd name="connsiteX78" fmla="*/ 648938 w 15115867"/>
              <a:gd name="connsiteY78" fmla="*/ 593077 h 1023226"/>
              <a:gd name="connsiteX79" fmla="*/ 647510 w 15115867"/>
              <a:gd name="connsiteY79" fmla="*/ 710235 h 1023226"/>
              <a:gd name="connsiteX80" fmla="*/ 603409 w 15115867"/>
              <a:gd name="connsiteY80" fmla="*/ 776529 h 1023226"/>
              <a:gd name="connsiteX81" fmla="*/ 563404 w 15115867"/>
              <a:gd name="connsiteY81" fmla="*/ 709377 h 1023226"/>
              <a:gd name="connsiteX82" fmla="*/ 563404 w 15115867"/>
              <a:gd name="connsiteY82" fmla="*/ 638321 h 1023226"/>
              <a:gd name="connsiteX83" fmla="*/ 537496 w 15115867"/>
              <a:gd name="connsiteY83" fmla="*/ 595935 h 1023226"/>
              <a:gd name="connsiteX84" fmla="*/ 537496 w 15115867"/>
              <a:gd name="connsiteY84" fmla="*/ 496398 h 1023226"/>
              <a:gd name="connsiteX85" fmla="*/ 498824 w 15115867"/>
              <a:gd name="connsiteY85" fmla="*/ 428676 h 1023226"/>
              <a:gd name="connsiteX86" fmla="*/ 581120 w 15115867"/>
              <a:gd name="connsiteY86" fmla="*/ 428676 h 1023226"/>
              <a:gd name="connsiteX87" fmla="*/ 627698 w 15115867"/>
              <a:gd name="connsiteY87" fmla="*/ 503256 h 1023226"/>
              <a:gd name="connsiteX88" fmla="*/ 592550 w 15115867"/>
              <a:gd name="connsiteY88" fmla="*/ 556406 h 1023226"/>
              <a:gd name="connsiteX0" fmla="*/ 15083451 w 15083451"/>
              <a:gd name="connsiteY0" fmla="*/ 5158 h 963549"/>
              <a:gd name="connsiteX1" fmla="*/ 439579 w 15083451"/>
              <a:gd name="connsiteY1" fmla="*/ 0 h 963549"/>
              <a:gd name="connsiteX2" fmla="*/ 399955 w 15083451"/>
              <a:gd name="connsiteY2" fmla="*/ 72009 h 963549"/>
              <a:gd name="connsiteX3" fmla="*/ 351377 w 15083451"/>
              <a:gd name="connsiteY3" fmla="*/ 72390 h 963549"/>
              <a:gd name="connsiteX4" fmla="*/ 307467 w 15083451"/>
              <a:gd name="connsiteY4" fmla="*/ 0 h 963549"/>
              <a:gd name="connsiteX5" fmla="*/ 118967 w 15083451"/>
              <a:gd name="connsiteY5" fmla="*/ 0 h 963549"/>
              <a:gd name="connsiteX6" fmla="*/ 0 w 15083451"/>
              <a:gd name="connsiteY6" fmla="*/ 199739 h 963549"/>
              <a:gd name="connsiteX7" fmla="*/ 0 w 15083451"/>
              <a:gd name="connsiteY7" fmla="*/ 342138 h 963549"/>
              <a:gd name="connsiteX8" fmla="*/ 78296 w 15083451"/>
              <a:gd name="connsiteY8" fmla="*/ 463772 h 963549"/>
              <a:gd name="connsiteX9" fmla="*/ 204216 w 15083451"/>
              <a:gd name="connsiteY9" fmla="*/ 463772 h 963549"/>
              <a:gd name="connsiteX10" fmla="*/ 219647 w 15083451"/>
              <a:gd name="connsiteY10" fmla="*/ 437007 h 963549"/>
              <a:gd name="connsiteX11" fmla="*/ 381000 w 15083451"/>
              <a:gd name="connsiteY11" fmla="*/ 437007 h 963549"/>
              <a:gd name="connsiteX12" fmla="*/ 399288 w 15083451"/>
              <a:gd name="connsiteY12" fmla="*/ 469773 h 963549"/>
              <a:gd name="connsiteX13" fmla="*/ 399288 w 15083451"/>
              <a:gd name="connsiteY13" fmla="*/ 568071 h 963549"/>
              <a:gd name="connsiteX14" fmla="*/ 434245 w 15083451"/>
              <a:gd name="connsiteY14" fmla="*/ 628841 h 963549"/>
              <a:gd name="connsiteX15" fmla="*/ 434054 w 15083451"/>
              <a:gd name="connsiteY15" fmla="*/ 693325 h 963549"/>
              <a:gd name="connsiteX16" fmla="*/ 492728 w 15083451"/>
              <a:gd name="connsiteY16" fmla="*/ 800005 h 963549"/>
              <a:gd name="connsiteX17" fmla="*/ 492728 w 15083451"/>
              <a:gd name="connsiteY17" fmla="*/ 884873 h 963549"/>
              <a:gd name="connsiteX18" fmla="*/ 559118 w 15083451"/>
              <a:gd name="connsiteY18" fmla="*/ 962978 h 963549"/>
              <a:gd name="connsiteX19" fmla="*/ 645414 w 15083451"/>
              <a:gd name="connsiteY19" fmla="*/ 963549 h 963549"/>
              <a:gd name="connsiteX20" fmla="*/ 688372 w 15083451"/>
              <a:gd name="connsiteY20" fmla="*/ 892112 h 963549"/>
              <a:gd name="connsiteX21" fmla="*/ 688372 w 15083451"/>
              <a:gd name="connsiteY21" fmla="*/ 837914 h 963549"/>
              <a:gd name="connsiteX22" fmla="*/ 784479 w 15083451"/>
              <a:gd name="connsiteY22" fmla="*/ 687229 h 963549"/>
              <a:gd name="connsiteX23" fmla="*/ 784479 w 15083451"/>
              <a:gd name="connsiteY23" fmla="*/ 586169 h 963549"/>
              <a:gd name="connsiteX24" fmla="*/ 831152 w 15083451"/>
              <a:gd name="connsiteY24" fmla="*/ 512636 h 963549"/>
              <a:gd name="connsiteX25" fmla="*/ 886968 w 15083451"/>
              <a:gd name="connsiteY25" fmla="*/ 513207 h 963549"/>
              <a:gd name="connsiteX26" fmla="*/ 979075 w 15083451"/>
              <a:gd name="connsiteY26" fmla="*/ 352139 h 963549"/>
              <a:gd name="connsiteX27" fmla="*/ 809530 w 15083451"/>
              <a:gd name="connsiteY27" fmla="*/ 352139 h 963549"/>
              <a:gd name="connsiteX28" fmla="*/ 761333 w 15083451"/>
              <a:gd name="connsiteY28" fmla="*/ 269367 h 963549"/>
              <a:gd name="connsiteX29" fmla="*/ 761429 w 15083451"/>
              <a:gd name="connsiteY29" fmla="*/ 189357 h 963549"/>
              <a:gd name="connsiteX30" fmla="*/ 681419 w 15083451"/>
              <a:gd name="connsiteY30" fmla="*/ 77438 h 963549"/>
              <a:gd name="connsiteX31" fmla="*/ 655511 w 15083451"/>
              <a:gd name="connsiteY31" fmla="*/ 77438 h 963549"/>
              <a:gd name="connsiteX32" fmla="*/ 487299 w 15083451"/>
              <a:gd name="connsiteY32" fmla="*/ 77438 h 963549"/>
              <a:gd name="connsiteX33" fmla="*/ 443293 w 15083451"/>
              <a:gd name="connsiteY33" fmla="*/ 153448 h 963549"/>
              <a:gd name="connsiteX34" fmla="*/ 316421 w 15083451"/>
              <a:gd name="connsiteY34" fmla="*/ 153448 h 963549"/>
              <a:gd name="connsiteX35" fmla="*/ 265843 w 15083451"/>
              <a:gd name="connsiteY35" fmla="*/ 67056 h 963549"/>
              <a:gd name="connsiteX36" fmla="*/ 159639 w 15083451"/>
              <a:gd name="connsiteY36" fmla="*/ 67056 h 963549"/>
              <a:gd name="connsiteX37" fmla="*/ 71914 w 15083451"/>
              <a:gd name="connsiteY37" fmla="*/ 225457 h 963549"/>
              <a:gd name="connsiteX38" fmla="*/ 71914 w 15083451"/>
              <a:gd name="connsiteY38" fmla="*/ 311753 h 963549"/>
              <a:gd name="connsiteX39" fmla="*/ 121825 w 15083451"/>
              <a:gd name="connsiteY39" fmla="*/ 393192 h 963549"/>
              <a:gd name="connsiteX40" fmla="*/ 160687 w 15083451"/>
              <a:gd name="connsiteY40" fmla="*/ 393192 h 963549"/>
              <a:gd name="connsiteX41" fmla="*/ 173260 w 15083451"/>
              <a:gd name="connsiteY41" fmla="*/ 370332 h 963549"/>
              <a:gd name="connsiteX42" fmla="*/ 416433 w 15083451"/>
              <a:gd name="connsiteY42" fmla="*/ 370332 h 963549"/>
              <a:gd name="connsiteX43" fmla="*/ 465392 w 15083451"/>
              <a:gd name="connsiteY43" fmla="*/ 455676 h 963549"/>
              <a:gd name="connsiteX44" fmla="*/ 465392 w 15083451"/>
              <a:gd name="connsiteY44" fmla="*/ 556736 h 963549"/>
              <a:gd name="connsiteX45" fmla="*/ 500443 w 15083451"/>
              <a:gd name="connsiteY45" fmla="*/ 616839 h 963549"/>
              <a:gd name="connsiteX46" fmla="*/ 500443 w 15083451"/>
              <a:gd name="connsiteY46" fmla="*/ 678275 h 963549"/>
              <a:gd name="connsiteX47" fmla="*/ 563309 w 15083451"/>
              <a:gd name="connsiteY47" fmla="*/ 783527 h 963549"/>
              <a:gd name="connsiteX48" fmla="*/ 563309 w 15083451"/>
              <a:gd name="connsiteY48" fmla="*/ 847344 h 963549"/>
              <a:gd name="connsiteX49" fmla="*/ 594932 w 15083451"/>
              <a:gd name="connsiteY49" fmla="*/ 888492 h 963549"/>
              <a:gd name="connsiteX50" fmla="*/ 609124 w 15083451"/>
              <a:gd name="connsiteY50" fmla="*/ 888492 h 963549"/>
              <a:gd name="connsiteX51" fmla="*/ 628460 w 15083451"/>
              <a:gd name="connsiteY51" fmla="*/ 856488 h 963549"/>
              <a:gd name="connsiteX52" fmla="*/ 628460 w 15083451"/>
              <a:gd name="connsiteY52" fmla="*/ 810292 h 963549"/>
              <a:gd name="connsiteX53" fmla="*/ 717899 w 15083451"/>
              <a:gd name="connsiteY53" fmla="*/ 667226 h 963549"/>
              <a:gd name="connsiteX54" fmla="*/ 718566 w 15083451"/>
              <a:gd name="connsiteY54" fmla="*/ 556165 h 963549"/>
              <a:gd name="connsiteX55" fmla="*/ 790956 w 15083451"/>
              <a:gd name="connsiteY55" fmla="*/ 448056 h 963549"/>
              <a:gd name="connsiteX56" fmla="*/ 843725 w 15083451"/>
              <a:gd name="connsiteY56" fmla="*/ 447770 h 963549"/>
              <a:gd name="connsiteX57" fmla="*/ 861060 w 15083451"/>
              <a:gd name="connsiteY57" fmla="*/ 419957 h 963549"/>
              <a:gd name="connsiteX58" fmla="*/ 767239 w 15083451"/>
              <a:gd name="connsiteY58" fmla="*/ 419957 h 963549"/>
              <a:gd name="connsiteX59" fmla="*/ 691229 w 15083451"/>
              <a:gd name="connsiteY59" fmla="*/ 291370 h 963549"/>
              <a:gd name="connsiteX60" fmla="*/ 689229 w 15083451"/>
              <a:gd name="connsiteY60" fmla="*/ 210407 h 963549"/>
              <a:gd name="connsiteX61" fmla="*/ 640271 w 15083451"/>
              <a:gd name="connsiteY61" fmla="*/ 144399 h 963549"/>
              <a:gd name="connsiteX62" fmla="*/ 532352 w 15083451"/>
              <a:gd name="connsiteY62" fmla="*/ 143447 h 963549"/>
              <a:gd name="connsiteX63" fmla="*/ 483108 w 15083451"/>
              <a:gd name="connsiteY63" fmla="*/ 228410 h 963549"/>
              <a:gd name="connsiteX64" fmla="*/ 271082 w 15083451"/>
              <a:gd name="connsiteY64" fmla="*/ 228410 h 963549"/>
              <a:gd name="connsiteX65" fmla="*/ 227743 w 15083451"/>
              <a:gd name="connsiteY65" fmla="*/ 156782 h 963549"/>
              <a:gd name="connsiteX66" fmla="*/ 200216 w 15083451"/>
              <a:gd name="connsiteY66" fmla="*/ 156782 h 963549"/>
              <a:gd name="connsiteX67" fmla="*/ 152019 w 15083451"/>
              <a:gd name="connsiteY67" fmla="*/ 248126 h 963549"/>
              <a:gd name="connsiteX68" fmla="*/ 150781 w 15083451"/>
              <a:gd name="connsiteY68" fmla="*/ 298990 h 963549"/>
              <a:gd name="connsiteX69" fmla="*/ 153638 w 15083451"/>
              <a:gd name="connsiteY69" fmla="*/ 303562 h 963549"/>
              <a:gd name="connsiteX70" fmla="*/ 157353 w 15083451"/>
              <a:gd name="connsiteY70" fmla="*/ 303467 h 963549"/>
              <a:gd name="connsiteX71" fmla="*/ 161068 w 15083451"/>
              <a:gd name="connsiteY71" fmla="*/ 298990 h 963549"/>
              <a:gd name="connsiteX72" fmla="*/ 525304 w 15083451"/>
              <a:gd name="connsiteY72" fmla="*/ 299180 h 963549"/>
              <a:gd name="connsiteX73" fmla="*/ 578739 w 15083451"/>
              <a:gd name="connsiteY73" fmla="*/ 213741 h 963549"/>
              <a:gd name="connsiteX74" fmla="*/ 607314 w 15083451"/>
              <a:gd name="connsiteY74" fmla="*/ 213741 h 963549"/>
              <a:gd name="connsiteX75" fmla="*/ 629317 w 15083451"/>
              <a:gd name="connsiteY75" fmla="*/ 242697 h 963549"/>
              <a:gd name="connsiteX76" fmla="*/ 629317 w 15083451"/>
              <a:gd name="connsiteY76" fmla="*/ 322326 h 963549"/>
              <a:gd name="connsiteX77" fmla="*/ 704945 w 15083451"/>
              <a:gd name="connsiteY77" fmla="*/ 449294 h 963549"/>
              <a:gd name="connsiteX78" fmla="*/ 648938 w 15083451"/>
              <a:gd name="connsiteY78" fmla="*/ 533400 h 963549"/>
              <a:gd name="connsiteX79" fmla="*/ 647510 w 15083451"/>
              <a:gd name="connsiteY79" fmla="*/ 650558 h 963549"/>
              <a:gd name="connsiteX80" fmla="*/ 603409 w 15083451"/>
              <a:gd name="connsiteY80" fmla="*/ 716852 h 963549"/>
              <a:gd name="connsiteX81" fmla="*/ 563404 w 15083451"/>
              <a:gd name="connsiteY81" fmla="*/ 649700 h 963549"/>
              <a:gd name="connsiteX82" fmla="*/ 563404 w 15083451"/>
              <a:gd name="connsiteY82" fmla="*/ 578644 h 963549"/>
              <a:gd name="connsiteX83" fmla="*/ 537496 w 15083451"/>
              <a:gd name="connsiteY83" fmla="*/ 536258 h 963549"/>
              <a:gd name="connsiteX84" fmla="*/ 537496 w 15083451"/>
              <a:gd name="connsiteY84" fmla="*/ 436721 h 963549"/>
              <a:gd name="connsiteX85" fmla="*/ 498824 w 15083451"/>
              <a:gd name="connsiteY85" fmla="*/ 368999 h 963549"/>
              <a:gd name="connsiteX86" fmla="*/ 581120 w 15083451"/>
              <a:gd name="connsiteY86" fmla="*/ 368999 h 963549"/>
              <a:gd name="connsiteX87" fmla="*/ 627698 w 15083451"/>
              <a:gd name="connsiteY87" fmla="*/ 443579 h 963549"/>
              <a:gd name="connsiteX88" fmla="*/ 592550 w 15083451"/>
              <a:gd name="connsiteY88" fmla="*/ 496729 h 963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15083451" h="963549">
                <a:moveTo>
                  <a:pt x="15083451" y="5158"/>
                </a:moveTo>
                <a:lnTo>
                  <a:pt x="439579" y="0"/>
                </a:lnTo>
                <a:lnTo>
                  <a:pt x="399955" y="72009"/>
                </a:lnTo>
                <a:lnTo>
                  <a:pt x="351377" y="72390"/>
                </a:lnTo>
                <a:lnTo>
                  <a:pt x="307467" y="0"/>
                </a:lnTo>
                <a:lnTo>
                  <a:pt x="118967" y="0"/>
                </a:lnTo>
                <a:lnTo>
                  <a:pt x="0" y="199739"/>
                </a:lnTo>
                <a:lnTo>
                  <a:pt x="0" y="342138"/>
                </a:lnTo>
                <a:lnTo>
                  <a:pt x="78296" y="463772"/>
                </a:lnTo>
                <a:lnTo>
                  <a:pt x="204216" y="463772"/>
                </a:lnTo>
                <a:lnTo>
                  <a:pt x="219647" y="437007"/>
                </a:lnTo>
                <a:lnTo>
                  <a:pt x="381000" y="437007"/>
                </a:lnTo>
                <a:lnTo>
                  <a:pt x="399288" y="469773"/>
                </a:lnTo>
                <a:lnTo>
                  <a:pt x="399288" y="568071"/>
                </a:lnTo>
                <a:lnTo>
                  <a:pt x="434245" y="628841"/>
                </a:lnTo>
                <a:cubicBezTo>
                  <a:pt x="434181" y="650336"/>
                  <a:pt x="434118" y="671830"/>
                  <a:pt x="434054" y="693325"/>
                </a:cubicBezTo>
                <a:lnTo>
                  <a:pt x="492728" y="800005"/>
                </a:lnTo>
                <a:lnTo>
                  <a:pt x="492728" y="884873"/>
                </a:lnTo>
                <a:lnTo>
                  <a:pt x="559118" y="962978"/>
                </a:lnTo>
                <a:lnTo>
                  <a:pt x="645414" y="963549"/>
                </a:lnTo>
                <a:lnTo>
                  <a:pt x="688372" y="892112"/>
                </a:lnTo>
                <a:lnTo>
                  <a:pt x="688372" y="837914"/>
                </a:lnTo>
                <a:lnTo>
                  <a:pt x="784479" y="687229"/>
                </a:lnTo>
                <a:lnTo>
                  <a:pt x="784479" y="586169"/>
                </a:lnTo>
                <a:lnTo>
                  <a:pt x="831152" y="512636"/>
                </a:lnTo>
                <a:lnTo>
                  <a:pt x="886968" y="513207"/>
                </a:lnTo>
                <a:lnTo>
                  <a:pt x="979075" y="352139"/>
                </a:lnTo>
                <a:lnTo>
                  <a:pt x="809530" y="352139"/>
                </a:lnTo>
                <a:lnTo>
                  <a:pt x="761333" y="269367"/>
                </a:lnTo>
                <a:lnTo>
                  <a:pt x="761429" y="189357"/>
                </a:lnTo>
                <a:lnTo>
                  <a:pt x="681419" y="77438"/>
                </a:lnTo>
                <a:lnTo>
                  <a:pt x="655511" y="77438"/>
                </a:lnTo>
                <a:lnTo>
                  <a:pt x="487299" y="77438"/>
                </a:lnTo>
                <a:lnTo>
                  <a:pt x="443293" y="153448"/>
                </a:lnTo>
                <a:lnTo>
                  <a:pt x="316421" y="153448"/>
                </a:lnTo>
                <a:lnTo>
                  <a:pt x="265843" y="67056"/>
                </a:lnTo>
                <a:lnTo>
                  <a:pt x="159639" y="67056"/>
                </a:lnTo>
                <a:lnTo>
                  <a:pt x="71914" y="225457"/>
                </a:lnTo>
                <a:lnTo>
                  <a:pt x="71914" y="311753"/>
                </a:lnTo>
                <a:lnTo>
                  <a:pt x="121825" y="393192"/>
                </a:lnTo>
                <a:lnTo>
                  <a:pt x="160687" y="393192"/>
                </a:lnTo>
                <a:lnTo>
                  <a:pt x="173260" y="370332"/>
                </a:lnTo>
                <a:lnTo>
                  <a:pt x="416433" y="370332"/>
                </a:lnTo>
                <a:lnTo>
                  <a:pt x="465392" y="455676"/>
                </a:lnTo>
                <a:lnTo>
                  <a:pt x="465392" y="556736"/>
                </a:lnTo>
                <a:lnTo>
                  <a:pt x="500443" y="616839"/>
                </a:lnTo>
                <a:lnTo>
                  <a:pt x="500443" y="678275"/>
                </a:lnTo>
                <a:lnTo>
                  <a:pt x="563309" y="783527"/>
                </a:lnTo>
                <a:lnTo>
                  <a:pt x="563309" y="847344"/>
                </a:lnTo>
                <a:lnTo>
                  <a:pt x="594932" y="888492"/>
                </a:lnTo>
                <a:lnTo>
                  <a:pt x="609124" y="888492"/>
                </a:lnTo>
                <a:lnTo>
                  <a:pt x="628460" y="856488"/>
                </a:lnTo>
                <a:lnTo>
                  <a:pt x="628460" y="810292"/>
                </a:lnTo>
                <a:lnTo>
                  <a:pt x="717899" y="667226"/>
                </a:lnTo>
                <a:cubicBezTo>
                  <a:pt x="718121" y="630206"/>
                  <a:pt x="718344" y="593185"/>
                  <a:pt x="718566" y="556165"/>
                </a:cubicBezTo>
                <a:lnTo>
                  <a:pt x="790956" y="448056"/>
                </a:lnTo>
                <a:lnTo>
                  <a:pt x="843725" y="447770"/>
                </a:lnTo>
                <a:lnTo>
                  <a:pt x="861060" y="419957"/>
                </a:lnTo>
                <a:lnTo>
                  <a:pt x="767239" y="419957"/>
                </a:lnTo>
                <a:lnTo>
                  <a:pt x="691229" y="291370"/>
                </a:lnTo>
                <a:cubicBezTo>
                  <a:pt x="690562" y="264382"/>
                  <a:pt x="689896" y="237395"/>
                  <a:pt x="689229" y="210407"/>
                </a:cubicBezTo>
                <a:lnTo>
                  <a:pt x="640271" y="144399"/>
                </a:lnTo>
                <a:lnTo>
                  <a:pt x="532352" y="143447"/>
                </a:lnTo>
                <a:lnTo>
                  <a:pt x="483108" y="228410"/>
                </a:lnTo>
                <a:lnTo>
                  <a:pt x="271082" y="228410"/>
                </a:lnTo>
                <a:lnTo>
                  <a:pt x="227743" y="156782"/>
                </a:lnTo>
                <a:lnTo>
                  <a:pt x="200216" y="156782"/>
                </a:lnTo>
                <a:lnTo>
                  <a:pt x="152019" y="248126"/>
                </a:lnTo>
                <a:cubicBezTo>
                  <a:pt x="151606" y="265081"/>
                  <a:pt x="151194" y="282035"/>
                  <a:pt x="150781" y="298990"/>
                </a:cubicBezTo>
                <a:lnTo>
                  <a:pt x="153638" y="303562"/>
                </a:lnTo>
                <a:lnTo>
                  <a:pt x="157353" y="303467"/>
                </a:lnTo>
                <a:lnTo>
                  <a:pt x="161068" y="298990"/>
                </a:lnTo>
                <a:lnTo>
                  <a:pt x="525304" y="299180"/>
                </a:lnTo>
                <a:lnTo>
                  <a:pt x="578739" y="213741"/>
                </a:lnTo>
                <a:lnTo>
                  <a:pt x="607314" y="213741"/>
                </a:lnTo>
                <a:lnTo>
                  <a:pt x="629317" y="242697"/>
                </a:lnTo>
                <a:lnTo>
                  <a:pt x="629317" y="322326"/>
                </a:lnTo>
                <a:lnTo>
                  <a:pt x="704945" y="449294"/>
                </a:lnTo>
                <a:lnTo>
                  <a:pt x="648938" y="533400"/>
                </a:lnTo>
                <a:lnTo>
                  <a:pt x="647510" y="650558"/>
                </a:lnTo>
                <a:lnTo>
                  <a:pt x="603409" y="716852"/>
                </a:lnTo>
                <a:lnTo>
                  <a:pt x="563404" y="649700"/>
                </a:lnTo>
                <a:lnTo>
                  <a:pt x="563404" y="578644"/>
                </a:lnTo>
                <a:lnTo>
                  <a:pt x="537496" y="536258"/>
                </a:lnTo>
                <a:lnTo>
                  <a:pt x="537496" y="436721"/>
                </a:lnTo>
                <a:lnTo>
                  <a:pt x="498824" y="368999"/>
                </a:lnTo>
                <a:lnTo>
                  <a:pt x="581120" y="368999"/>
                </a:lnTo>
                <a:lnTo>
                  <a:pt x="627698" y="443579"/>
                </a:lnTo>
                <a:lnTo>
                  <a:pt x="592550" y="496729"/>
                </a:lnTo>
              </a:path>
            </a:pathLst>
          </a:custGeom>
          <a:noFill/>
          <a:ln w="7144" cap="flat">
            <a:solidFill>
              <a:srgbClr val="E63C2B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40B27B1-9BEE-85F0-5F8D-2FE6D5DDD203}"/>
              </a:ext>
            </a:extLst>
          </p:cNvPr>
          <p:cNvSpPr/>
          <p:nvPr userDrawn="1"/>
        </p:nvSpPr>
        <p:spPr>
          <a:xfrm>
            <a:off x="501343" y="857543"/>
            <a:ext cx="432048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A1B3B9E-600F-FC15-707B-431B65AD49C7}"/>
              </a:ext>
            </a:extLst>
          </p:cNvPr>
          <p:cNvSpPr/>
          <p:nvPr userDrawn="1"/>
        </p:nvSpPr>
        <p:spPr>
          <a:xfrm>
            <a:off x="380693" y="914693"/>
            <a:ext cx="432048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D1B1B81-36CD-9D78-49C8-71B7E7E54A6F}"/>
              </a:ext>
            </a:extLst>
          </p:cNvPr>
          <p:cNvSpPr/>
          <p:nvPr userDrawn="1"/>
        </p:nvSpPr>
        <p:spPr>
          <a:xfrm>
            <a:off x="69295" y="867068"/>
            <a:ext cx="362505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881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48" r:id="rId9"/>
    <p:sldLayoutId id="2147483789" r:id="rId10"/>
    <p:sldLayoutId id="2147483790" r:id="rId11"/>
    <p:sldLayoutId id="2147483754" r:id="rId12"/>
    <p:sldLayoutId id="2147483791" r:id="rId13"/>
    <p:sldLayoutId id="2147483792" r:id="rId14"/>
    <p:sldLayoutId id="2147483793" r:id="rId15"/>
    <p:sldLayoutId id="2147483794" r:id="rId16"/>
    <p:sldLayoutId id="2147483795" r:id="rId17"/>
    <p:sldLayoutId id="2147483796" r:id="rId18"/>
    <p:sldLayoutId id="2147483797" r:id="rId19"/>
    <p:sldLayoutId id="2147483798" r:id="rId20"/>
    <p:sldLayoutId id="2147483799" r:id="rId21"/>
    <p:sldLayoutId id="2147483800" r:id="rId22"/>
    <p:sldLayoutId id="2147483801" r:id="rId23"/>
    <p:sldLayoutId id="2147483802" r:id="rId24"/>
    <p:sldLayoutId id="2147483803" r:id="rId25"/>
    <p:sldLayoutId id="2147483804" r:id="rId26"/>
    <p:sldLayoutId id="2147483805" r:id="rId27"/>
  </p:sldLayoutIdLst>
  <p:hf hdr="0" ftr="0" dt="0"/>
  <p:txStyles>
    <p:titleStyle>
      <a:lvl1pPr algn="l" defTabSz="779173" rtl="0" eaLnBrk="1" latinLnBrk="0" hangingPunct="1">
        <a:spcBef>
          <a:spcPct val="0"/>
        </a:spcBef>
        <a:buNone/>
        <a:defRPr sz="2800" b="1" i="0" kern="1200" cap="none" spc="0" baseline="0">
          <a:solidFill>
            <a:schemeClr val="tx1"/>
          </a:solidFill>
          <a:latin typeface="Apex New Bold" panose="02010600040501010103" pitchFamily="2" charset="77"/>
          <a:ea typeface="Apex New Bold" panose="02010600040501010103" pitchFamily="2" charset="77"/>
          <a:cs typeface="+mj-cs"/>
        </a:defRPr>
      </a:lvl1pPr>
    </p:titleStyle>
    <p:bodyStyle>
      <a:lvl1pPr marL="0" indent="0" algn="l" defTabSz="779173" rtl="0" eaLnBrk="1" latinLnBrk="0" hangingPunct="1">
        <a:lnSpc>
          <a:spcPct val="110000"/>
        </a:lnSpc>
        <a:spcBef>
          <a:spcPts val="1023"/>
        </a:spcBef>
        <a:spcAft>
          <a:spcPts val="341"/>
        </a:spcAft>
        <a:buFont typeface="Arial" pitchFamily="34" charset="0"/>
        <a:buNone/>
        <a:defRPr sz="20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228612" indent="-142037" algn="l" defTabSz="779173" rtl="0" eaLnBrk="1" latinLnBrk="0" hangingPunct="1">
        <a:lnSpc>
          <a:spcPct val="110000"/>
        </a:lnSpc>
        <a:spcBef>
          <a:spcPts val="171"/>
        </a:spcBef>
        <a:spcAft>
          <a:spcPts val="171"/>
        </a:spcAft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531623" indent="-160976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›"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764293" indent="-155565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–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1078126" indent="-156917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»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142725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312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98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84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6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73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9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45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32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18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104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91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0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  <p15:guide id="5" orient="horz" pos="2432" userDrawn="1">
          <p15:clr>
            <a:srgbClr val="F26B43"/>
          </p15:clr>
        </p15:guide>
        <p15:guide id="7" orient="horz" pos="96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48978833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18" imgW="421" imgH="420" progId="TCLayout.ActiveDocument.1">
                  <p:embed/>
                </p:oleObj>
              </mc:Choice>
              <mc:Fallback>
                <p:oleObj name="think-cell Slide" r:id="rId18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8755" y="276058"/>
            <a:ext cx="10457775" cy="7201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MASTER SLID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8329" y="1200483"/>
            <a:ext cx="11055343" cy="5299629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7" name="Rectangle 6"/>
          <p:cNvSpPr/>
          <p:nvPr userDrawn="1"/>
        </p:nvSpPr>
        <p:spPr>
          <a:xfrm>
            <a:off x="443786" y="62927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 dirty="0">
              <a:solidFill>
                <a:schemeClr val="tx1">
                  <a:lumMod val="50000"/>
                  <a:lumOff val="50000"/>
                </a:schemeClr>
              </a:solidFill>
              <a:latin typeface="Tahoma"/>
            </a:endParaRPr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C94C95BE-8722-4D8D-93E0-75343B78F809}"/>
              </a:ext>
            </a:extLst>
          </p:cNvPr>
          <p:cNvSpPr/>
          <p:nvPr userDrawn="1"/>
        </p:nvSpPr>
        <p:spPr>
          <a:xfrm>
            <a:off x="568328" y="1121575"/>
            <a:ext cx="11055343" cy="45719"/>
          </a:xfrm>
          <a:custGeom>
            <a:avLst/>
            <a:gdLst/>
            <a:ahLst/>
            <a:cxnLst/>
            <a:rect l="l" t="t" r="r" b="b"/>
            <a:pathLst>
              <a:path w="18230215">
                <a:moveTo>
                  <a:pt x="0" y="0"/>
                </a:moveTo>
                <a:lnTo>
                  <a:pt x="18229780" y="0"/>
                </a:lnTo>
              </a:path>
            </a:pathLst>
          </a:custGeom>
          <a:ln w="20941">
            <a:solidFill>
              <a:srgbClr val="8B8E91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8828F517-37FB-4E03-B217-C275D9590891}"/>
              </a:ext>
            </a:extLst>
          </p:cNvPr>
          <p:cNvSpPr/>
          <p:nvPr userDrawn="1"/>
        </p:nvSpPr>
        <p:spPr>
          <a:xfrm>
            <a:off x="620851" y="6136760"/>
            <a:ext cx="166575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0567A0-C0A7-4B1B-AE7B-212F10FDF1C1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99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</p:sldLayoutIdLst>
  <p:hf hdr="0" ftr="0" dt="0"/>
  <p:txStyles>
    <p:titleStyle>
      <a:lvl1pPr algn="l" defTabSz="779173" rtl="0" eaLnBrk="1" latinLnBrk="0" hangingPunct="1">
        <a:spcBef>
          <a:spcPct val="0"/>
        </a:spcBef>
        <a:buNone/>
        <a:defRPr sz="2800" b="1" kern="1200" cap="none" spc="0" baseline="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779173" rtl="0" eaLnBrk="1" latinLnBrk="0" hangingPunct="1">
        <a:lnSpc>
          <a:spcPct val="110000"/>
        </a:lnSpc>
        <a:spcBef>
          <a:spcPts val="1023"/>
        </a:spcBef>
        <a:spcAft>
          <a:spcPts val="341"/>
        </a:spcAft>
        <a:buFont typeface="Arial" pitchFamily="34" charset="0"/>
        <a:buNone/>
        <a:defRPr sz="20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228612" indent="-142037" algn="l" defTabSz="779173" rtl="0" eaLnBrk="1" latinLnBrk="0" hangingPunct="1">
        <a:lnSpc>
          <a:spcPct val="110000"/>
        </a:lnSpc>
        <a:spcBef>
          <a:spcPts val="171"/>
        </a:spcBef>
        <a:spcAft>
          <a:spcPts val="171"/>
        </a:spcAft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531623" indent="-160976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›"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764293" indent="-155565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–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1078126" indent="-156917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»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142725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312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98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84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6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73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9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45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32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18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104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91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0">
          <p15:clr>
            <a:srgbClr val="F26B43"/>
          </p15:clr>
        </p15:guide>
        <p15:guide id="4" orient="horz" pos="4156">
          <p15:clr>
            <a:srgbClr val="F26B43"/>
          </p15:clr>
        </p15:guide>
        <p15:guide id="5" orient="horz" pos="2432">
          <p15:clr>
            <a:srgbClr val="F26B43"/>
          </p15:clr>
        </p15:guide>
        <p15:guide id="7" orient="horz" pos="70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48978833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34" imgW="421" imgH="420" progId="TCLayout.ActiveDocument.1">
                  <p:embed/>
                </p:oleObj>
              </mc:Choice>
              <mc:Fallback>
                <p:oleObj name="think-cell Slide" r:id="rId34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4">
            <a:extLst>
              <a:ext uri="{FF2B5EF4-FFF2-40B4-BE49-F238E27FC236}">
                <a16:creationId xmlns:a16="http://schemas.microsoft.com/office/drawing/2014/main" id="{A3145E3B-53D8-24D2-49B8-FC9BEF07CE71}"/>
              </a:ext>
            </a:extLst>
          </p:cNvPr>
          <p:cNvSpPr/>
          <p:nvPr userDrawn="1"/>
        </p:nvSpPr>
        <p:spPr>
          <a:xfrm>
            <a:off x="11521842" y="6474757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E2766E-0E28-428C-7713-F6A0FCA419FF}"/>
              </a:ext>
            </a:extLst>
          </p:cNvPr>
          <p:cNvSpPr/>
          <p:nvPr userDrawn="1"/>
        </p:nvSpPr>
        <p:spPr>
          <a:xfrm>
            <a:off x="11588593" y="65348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 dirty="0">
              <a:solidFill>
                <a:schemeClr val="bg1"/>
              </a:solidFill>
              <a:latin typeface="Tahoma"/>
            </a:endParaRPr>
          </a:p>
        </p:txBody>
      </p:sp>
      <p:sp>
        <p:nvSpPr>
          <p:cNvPr id="7" name="Graphic 64">
            <a:extLst>
              <a:ext uri="{FF2B5EF4-FFF2-40B4-BE49-F238E27FC236}">
                <a16:creationId xmlns:a16="http://schemas.microsoft.com/office/drawing/2014/main" id="{238245C2-535F-687F-738F-83FEEB859035}"/>
              </a:ext>
            </a:extLst>
          </p:cNvPr>
          <p:cNvSpPr/>
          <p:nvPr userDrawn="1"/>
        </p:nvSpPr>
        <p:spPr>
          <a:xfrm>
            <a:off x="209511" y="825398"/>
            <a:ext cx="10134961" cy="647434"/>
          </a:xfrm>
          <a:custGeom>
            <a:avLst/>
            <a:gdLst>
              <a:gd name="connsiteX0" fmla="*/ 7482459 w 7482459"/>
              <a:gd name="connsiteY0" fmla="*/ 0 h 963549"/>
              <a:gd name="connsiteX1" fmla="*/ 439579 w 7482459"/>
              <a:gd name="connsiteY1" fmla="*/ 0 h 963549"/>
              <a:gd name="connsiteX2" fmla="*/ 399955 w 7482459"/>
              <a:gd name="connsiteY2" fmla="*/ 72009 h 963549"/>
              <a:gd name="connsiteX3" fmla="*/ 351377 w 7482459"/>
              <a:gd name="connsiteY3" fmla="*/ 72390 h 963549"/>
              <a:gd name="connsiteX4" fmla="*/ 307467 w 7482459"/>
              <a:gd name="connsiteY4" fmla="*/ 0 h 963549"/>
              <a:gd name="connsiteX5" fmla="*/ 118967 w 7482459"/>
              <a:gd name="connsiteY5" fmla="*/ 0 h 963549"/>
              <a:gd name="connsiteX6" fmla="*/ 0 w 7482459"/>
              <a:gd name="connsiteY6" fmla="*/ 199739 h 963549"/>
              <a:gd name="connsiteX7" fmla="*/ 0 w 7482459"/>
              <a:gd name="connsiteY7" fmla="*/ 342138 h 963549"/>
              <a:gd name="connsiteX8" fmla="*/ 78296 w 7482459"/>
              <a:gd name="connsiteY8" fmla="*/ 463772 h 963549"/>
              <a:gd name="connsiteX9" fmla="*/ 204216 w 7482459"/>
              <a:gd name="connsiteY9" fmla="*/ 463772 h 963549"/>
              <a:gd name="connsiteX10" fmla="*/ 219647 w 7482459"/>
              <a:gd name="connsiteY10" fmla="*/ 437007 h 963549"/>
              <a:gd name="connsiteX11" fmla="*/ 381000 w 7482459"/>
              <a:gd name="connsiteY11" fmla="*/ 437007 h 963549"/>
              <a:gd name="connsiteX12" fmla="*/ 399288 w 7482459"/>
              <a:gd name="connsiteY12" fmla="*/ 469773 h 963549"/>
              <a:gd name="connsiteX13" fmla="*/ 399288 w 7482459"/>
              <a:gd name="connsiteY13" fmla="*/ 568071 h 963549"/>
              <a:gd name="connsiteX14" fmla="*/ 434245 w 7482459"/>
              <a:gd name="connsiteY14" fmla="*/ 628841 h 963549"/>
              <a:gd name="connsiteX15" fmla="*/ 434054 w 7482459"/>
              <a:gd name="connsiteY15" fmla="*/ 693325 h 963549"/>
              <a:gd name="connsiteX16" fmla="*/ 492728 w 7482459"/>
              <a:gd name="connsiteY16" fmla="*/ 800005 h 963549"/>
              <a:gd name="connsiteX17" fmla="*/ 492728 w 7482459"/>
              <a:gd name="connsiteY17" fmla="*/ 884873 h 963549"/>
              <a:gd name="connsiteX18" fmla="*/ 559118 w 7482459"/>
              <a:gd name="connsiteY18" fmla="*/ 962978 h 963549"/>
              <a:gd name="connsiteX19" fmla="*/ 645414 w 7482459"/>
              <a:gd name="connsiteY19" fmla="*/ 963549 h 963549"/>
              <a:gd name="connsiteX20" fmla="*/ 688372 w 7482459"/>
              <a:gd name="connsiteY20" fmla="*/ 892112 h 963549"/>
              <a:gd name="connsiteX21" fmla="*/ 688372 w 7482459"/>
              <a:gd name="connsiteY21" fmla="*/ 837914 h 963549"/>
              <a:gd name="connsiteX22" fmla="*/ 784479 w 7482459"/>
              <a:gd name="connsiteY22" fmla="*/ 687229 h 963549"/>
              <a:gd name="connsiteX23" fmla="*/ 784479 w 7482459"/>
              <a:gd name="connsiteY23" fmla="*/ 586169 h 963549"/>
              <a:gd name="connsiteX24" fmla="*/ 831152 w 7482459"/>
              <a:gd name="connsiteY24" fmla="*/ 512636 h 963549"/>
              <a:gd name="connsiteX25" fmla="*/ 886968 w 7482459"/>
              <a:gd name="connsiteY25" fmla="*/ 513207 h 963549"/>
              <a:gd name="connsiteX26" fmla="*/ 979075 w 7482459"/>
              <a:gd name="connsiteY26" fmla="*/ 352139 h 963549"/>
              <a:gd name="connsiteX27" fmla="*/ 809530 w 7482459"/>
              <a:gd name="connsiteY27" fmla="*/ 352139 h 963549"/>
              <a:gd name="connsiteX28" fmla="*/ 761333 w 7482459"/>
              <a:gd name="connsiteY28" fmla="*/ 269367 h 963549"/>
              <a:gd name="connsiteX29" fmla="*/ 761429 w 7482459"/>
              <a:gd name="connsiteY29" fmla="*/ 189357 h 963549"/>
              <a:gd name="connsiteX30" fmla="*/ 681419 w 7482459"/>
              <a:gd name="connsiteY30" fmla="*/ 77438 h 963549"/>
              <a:gd name="connsiteX31" fmla="*/ 655511 w 7482459"/>
              <a:gd name="connsiteY31" fmla="*/ 77438 h 963549"/>
              <a:gd name="connsiteX32" fmla="*/ 487299 w 7482459"/>
              <a:gd name="connsiteY32" fmla="*/ 77438 h 963549"/>
              <a:gd name="connsiteX33" fmla="*/ 443293 w 7482459"/>
              <a:gd name="connsiteY33" fmla="*/ 153448 h 963549"/>
              <a:gd name="connsiteX34" fmla="*/ 316421 w 7482459"/>
              <a:gd name="connsiteY34" fmla="*/ 153448 h 963549"/>
              <a:gd name="connsiteX35" fmla="*/ 265843 w 7482459"/>
              <a:gd name="connsiteY35" fmla="*/ 67056 h 963549"/>
              <a:gd name="connsiteX36" fmla="*/ 159639 w 7482459"/>
              <a:gd name="connsiteY36" fmla="*/ 67056 h 963549"/>
              <a:gd name="connsiteX37" fmla="*/ 71914 w 7482459"/>
              <a:gd name="connsiteY37" fmla="*/ 225457 h 963549"/>
              <a:gd name="connsiteX38" fmla="*/ 71914 w 7482459"/>
              <a:gd name="connsiteY38" fmla="*/ 311753 h 963549"/>
              <a:gd name="connsiteX39" fmla="*/ 121825 w 7482459"/>
              <a:gd name="connsiteY39" fmla="*/ 393192 h 963549"/>
              <a:gd name="connsiteX40" fmla="*/ 160687 w 7482459"/>
              <a:gd name="connsiteY40" fmla="*/ 393192 h 963549"/>
              <a:gd name="connsiteX41" fmla="*/ 173260 w 7482459"/>
              <a:gd name="connsiteY41" fmla="*/ 370332 h 963549"/>
              <a:gd name="connsiteX42" fmla="*/ 416433 w 7482459"/>
              <a:gd name="connsiteY42" fmla="*/ 370332 h 963549"/>
              <a:gd name="connsiteX43" fmla="*/ 465392 w 7482459"/>
              <a:gd name="connsiteY43" fmla="*/ 455676 h 963549"/>
              <a:gd name="connsiteX44" fmla="*/ 465392 w 7482459"/>
              <a:gd name="connsiteY44" fmla="*/ 556736 h 963549"/>
              <a:gd name="connsiteX45" fmla="*/ 500443 w 7482459"/>
              <a:gd name="connsiteY45" fmla="*/ 616839 h 963549"/>
              <a:gd name="connsiteX46" fmla="*/ 500443 w 7482459"/>
              <a:gd name="connsiteY46" fmla="*/ 678275 h 963549"/>
              <a:gd name="connsiteX47" fmla="*/ 563309 w 7482459"/>
              <a:gd name="connsiteY47" fmla="*/ 783527 h 963549"/>
              <a:gd name="connsiteX48" fmla="*/ 563309 w 7482459"/>
              <a:gd name="connsiteY48" fmla="*/ 847344 h 963549"/>
              <a:gd name="connsiteX49" fmla="*/ 594932 w 7482459"/>
              <a:gd name="connsiteY49" fmla="*/ 888492 h 963549"/>
              <a:gd name="connsiteX50" fmla="*/ 609124 w 7482459"/>
              <a:gd name="connsiteY50" fmla="*/ 888492 h 963549"/>
              <a:gd name="connsiteX51" fmla="*/ 628460 w 7482459"/>
              <a:gd name="connsiteY51" fmla="*/ 856488 h 963549"/>
              <a:gd name="connsiteX52" fmla="*/ 628460 w 7482459"/>
              <a:gd name="connsiteY52" fmla="*/ 810292 h 963549"/>
              <a:gd name="connsiteX53" fmla="*/ 717899 w 7482459"/>
              <a:gd name="connsiteY53" fmla="*/ 667226 h 963549"/>
              <a:gd name="connsiteX54" fmla="*/ 718566 w 7482459"/>
              <a:gd name="connsiteY54" fmla="*/ 556165 h 963549"/>
              <a:gd name="connsiteX55" fmla="*/ 790956 w 7482459"/>
              <a:gd name="connsiteY55" fmla="*/ 448056 h 963549"/>
              <a:gd name="connsiteX56" fmla="*/ 843725 w 7482459"/>
              <a:gd name="connsiteY56" fmla="*/ 447770 h 963549"/>
              <a:gd name="connsiteX57" fmla="*/ 861060 w 7482459"/>
              <a:gd name="connsiteY57" fmla="*/ 419957 h 963549"/>
              <a:gd name="connsiteX58" fmla="*/ 767239 w 7482459"/>
              <a:gd name="connsiteY58" fmla="*/ 419957 h 963549"/>
              <a:gd name="connsiteX59" fmla="*/ 691229 w 7482459"/>
              <a:gd name="connsiteY59" fmla="*/ 291370 h 963549"/>
              <a:gd name="connsiteX60" fmla="*/ 689229 w 7482459"/>
              <a:gd name="connsiteY60" fmla="*/ 210407 h 963549"/>
              <a:gd name="connsiteX61" fmla="*/ 640271 w 7482459"/>
              <a:gd name="connsiteY61" fmla="*/ 144399 h 963549"/>
              <a:gd name="connsiteX62" fmla="*/ 532352 w 7482459"/>
              <a:gd name="connsiteY62" fmla="*/ 143447 h 963549"/>
              <a:gd name="connsiteX63" fmla="*/ 483108 w 7482459"/>
              <a:gd name="connsiteY63" fmla="*/ 228410 h 963549"/>
              <a:gd name="connsiteX64" fmla="*/ 271082 w 7482459"/>
              <a:gd name="connsiteY64" fmla="*/ 228410 h 963549"/>
              <a:gd name="connsiteX65" fmla="*/ 227743 w 7482459"/>
              <a:gd name="connsiteY65" fmla="*/ 156782 h 963549"/>
              <a:gd name="connsiteX66" fmla="*/ 200216 w 7482459"/>
              <a:gd name="connsiteY66" fmla="*/ 156782 h 963549"/>
              <a:gd name="connsiteX67" fmla="*/ 152019 w 7482459"/>
              <a:gd name="connsiteY67" fmla="*/ 248126 h 963549"/>
              <a:gd name="connsiteX68" fmla="*/ 150781 w 7482459"/>
              <a:gd name="connsiteY68" fmla="*/ 298990 h 963549"/>
              <a:gd name="connsiteX69" fmla="*/ 153638 w 7482459"/>
              <a:gd name="connsiteY69" fmla="*/ 303562 h 963549"/>
              <a:gd name="connsiteX70" fmla="*/ 157353 w 7482459"/>
              <a:gd name="connsiteY70" fmla="*/ 303467 h 963549"/>
              <a:gd name="connsiteX71" fmla="*/ 161068 w 7482459"/>
              <a:gd name="connsiteY71" fmla="*/ 298990 h 963549"/>
              <a:gd name="connsiteX72" fmla="*/ 525304 w 7482459"/>
              <a:gd name="connsiteY72" fmla="*/ 299180 h 963549"/>
              <a:gd name="connsiteX73" fmla="*/ 578739 w 7482459"/>
              <a:gd name="connsiteY73" fmla="*/ 213741 h 963549"/>
              <a:gd name="connsiteX74" fmla="*/ 607314 w 7482459"/>
              <a:gd name="connsiteY74" fmla="*/ 213741 h 963549"/>
              <a:gd name="connsiteX75" fmla="*/ 629317 w 7482459"/>
              <a:gd name="connsiteY75" fmla="*/ 242697 h 963549"/>
              <a:gd name="connsiteX76" fmla="*/ 629317 w 7482459"/>
              <a:gd name="connsiteY76" fmla="*/ 322326 h 963549"/>
              <a:gd name="connsiteX77" fmla="*/ 704945 w 7482459"/>
              <a:gd name="connsiteY77" fmla="*/ 449294 h 963549"/>
              <a:gd name="connsiteX78" fmla="*/ 648938 w 7482459"/>
              <a:gd name="connsiteY78" fmla="*/ 533400 h 963549"/>
              <a:gd name="connsiteX79" fmla="*/ 647510 w 7482459"/>
              <a:gd name="connsiteY79" fmla="*/ 650558 h 963549"/>
              <a:gd name="connsiteX80" fmla="*/ 603409 w 7482459"/>
              <a:gd name="connsiteY80" fmla="*/ 716852 h 963549"/>
              <a:gd name="connsiteX81" fmla="*/ 563404 w 7482459"/>
              <a:gd name="connsiteY81" fmla="*/ 649700 h 963549"/>
              <a:gd name="connsiteX82" fmla="*/ 563404 w 7482459"/>
              <a:gd name="connsiteY82" fmla="*/ 578644 h 963549"/>
              <a:gd name="connsiteX83" fmla="*/ 537496 w 7482459"/>
              <a:gd name="connsiteY83" fmla="*/ 536258 h 963549"/>
              <a:gd name="connsiteX84" fmla="*/ 537496 w 7482459"/>
              <a:gd name="connsiteY84" fmla="*/ 436721 h 963549"/>
              <a:gd name="connsiteX85" fmla="*/ 498824 w 7482459"/>
              <a:gd name="connsiteY85" fmla="*/ 368999 h 963549"/>
              <a:gd name="connsiteX86" fmla="*/ 581120 w 7482459"/>
              <a:gd name="connsiteY86" fmla="*/ 368999 h 963549"/>
              <a:gd name="connsiteX87" fmla="*/ 627698 w 7482459"/>
              <a:gd name="connsiteY87" fmla="*/ 443579 h 963549"/>
              <a:gd name="connsiteX88" fmla="*/ 592550 w 7482459"/>
              <a:gd name="connsiteY88" fmla="*/ 496729 h 963549"/>
              <a:gd name="connsiteX0" fmla="*/ 8451880 w 8451880"/>
              <a:gd name="connsiteY0" fmla="*/ 0 h 963549"/>
              <a:gd name="connsiteX1" fmla="*/ 439579 w 8451880"/>
              <a:gd name="connsiteY1" fmla="*/ 0 h 963549"/>
              <a:gd name="connsiteX2" fmla="*/ 399955 w 8451880"/>
              <a:gd name="connsiteY2" fmla="*/ 72009 h 963549"/>
              <a:gd name="connsiteX3" fmla="*/ 351377 w 8451880"/>
              <a:gd name="connsiteY3" fmla="*/ 72390 h 963549"/>
              <a:gd name="connsiteX4" fmla="*/ 307467 w 8451880"/>
              <a:gd name="connsiteY4" fmla="*/ 0 h 963549"/>
              <a:gd name="connsiteX5" fmla="*/ 118967 w 8451880"/>
              <a:gd name="connsiteY5" fmla="*/ 0 h 963549"/>
              <a:gd name="connsiteX6" fmla="*/ 0 w 8451880"/>
              <a:gd name="connsiteY6" fmla="*/ 199739 h 963549"/>
              <a:gd name="connsiteX7" fmla="*/ 0 w 8451880"/>
              <a:gd name="connsiteY7" fmla="*/ 342138 h 963549"/>
              <a:gd name="connsiteX8" fmla="*/ 78296 w 8451880"/>
              <a:gd name="connsiteY8" fmla="*/ 463772 h 963549"/>
              <a:gd name="connsiteX9" fmla="*/ 204216 w 8451880"/>
              <a:gd name="connsiteY9" fmla="*/ 463772 h 963549"/>
              <a:gd name="connsiteX10" fmla="*/ 219647 w 8451880"/>
              <a:gd name="connsiteY10" fmla="*/ 437007 h 963549"/>
              <a:gd name="connsiteX11" fmla="*/ 381000 w 8451880"/>
              <a:gd name="connsiteY11" fmla="*/ 437007 h 963549"/>
              <a:gd name="connsiteX12" fmla="*/ 399288 w 8451880"/>
              <a:gd name="connsiteY12" fmla="*/ 469773 h 963549"/>
              <a:gd name="connsiteX13" fmla="*/ 399288 w 8451880"/>
              <a:gd name="connsiteY13" fmla="*/ 568071 h 963549"/>
              <a:gd name="connsiteX14" fmla="*/ 434245 w 8451880"/>
              <a:gd name="connsiteY14" fmla="*/ 628841 h 963549"/>
              <a:gd name="connsiteX15" fmla="*/ 434054 w 8451880"/>
              <a:gd name="connsiteY15" fmla="*/ 693325 h 963549"/>
              <a:gd name="connsiteX16" fmla="*/ 492728 w 8451880"/>
              <a:gd name="connsiteY16" fmla="*/ 800005 h 963549"/>
              <a:gd name="connsiteX17" fmla="*/ 492728 w 8451880"/>
              <a:gd name="connsiteY17" fmla="*/ 884873 h 963549"/>
              <a:gd name="connsiteX18" fmla="*/ 559118 w 8451880"/>
              <a:gd name="connsiteY18" fmla="*/ 962978 h 963549"/>
              <a:gd name="connsiteX19" fmla="*/ 645414 w 8451880"/>
              <a:gd name="connsiteY19" fmla="*/ 963549 h 963549"/>
              <a:gd name="connsiteX20" fmla="*/ 688372 w 8451880"/>
              <a:gd name="connsiteY20" fmla="*/ 892112 h 963549"/>
              <a:gd name="connsiteX21" fmla="*/ 688372 w 8451880"/>
              <a:gd name="connsiteY21" fmla="*/ 837914 h 963549"/>
              <a:gd name="connsiteX22" fmla="*/ 784479 w 8451880"/>
              <a:gd name="connsiteY22" fmla="*/ 687229 h 963549"/>
              <a:gd name="connsiteX23" fmla="*/ 784479 w 8451880"/>
              <a:gd name="connsiteY23" fmla="*/ 586169 h 963549"/>
              <a:gd name="connsiteX24" fmla="*/ 831152 w 8451880"/>
              <a:gd name="connsiteY24" fmla="*/ 512636 h 963549"/>
              <a:gd name="connsiteX25" fmla="*/ 886968 w 8451880"/>
              <a:gd name="connsiteY25" fmla="*/ 513207 h 963549"/>
              <a:gd name="connsiteX26" fmla="*/ 979075 w 8451880"/>
              <a:gd name="connsiteY26" fmla="*/ 352139 h 963549"/>
              <a:gd name="connsiteX27" fmla="*/ 809530 w 8451880"/>
              <a:gd name="connsiteY27" fmla="*/ 352139 h 963549"/>
              <a:gd name="connsiteX28" fmla="*/ 761333 w 8451880"/>
              <a:gd name="connsiteY28" fmla="*/ 269367 h 963549"/>
              <a:gd name="connsiteX29" fmla="*/ 761429 w 8451880"/>
              <a:gd name="connsiteY29" fmla="*/ 189357 h 963549"/>
              <a:gd name="connsiteX30" fmla="*/ 681419 w 8451880"/>
              <a:gd name="connsiteY30" fmla="*/ 77438 h 963549"/>
              <a:gd name="connsiteX31" fmla="*/ 655511 w 8451880"/>
              <a:gd name="connsiteY31" fmla="*/ 77438 h 963549"/>
              <a:gd name="connsiteX32" fmla="*/ 487299 w 8451880"/>
              <a:gd name="connsiteY32" fmla="*/ 77438 h 963549"/>
              <a:gd name="connsiteX33" fmla="*/ 443293 w 8451880"/>
              <a:gd name="connsiteY33" fmla="*/ 153448 h 963549"/>
              <a:gd name="connsiteX34" fmla="*/ 316421 w 8451880"/>
              <a:gd name="connsiteY34" fmla="*/ 153448 h 963549"/>
              <a:gd name="connsiteX35" fmla="*/ 265843 w 8451880"/>
              <a:gd name="connsiteY35" fmla="*/ 67056 h 963549"/>
              <a:gd name="connsiteX36" fmla="*/ 159639 w 8451880"/>
              <a:gd name="connsiteY36" fmla="*/ 67056 h 963549"/>
              <a:gd name="connsiteX37" fmla="*/ 71914 w 8451880"/>
              <a:gd name="connsiteY37" fmla="*/ 225457 h 963549"/>
              <a:gd name="connsiteX38" fmla="*/ 71914 w 8451880"/>
              <a:gd name="connsiteY38" fmla="*/ 311753 h 963549"/>
              <a:gd name="connsiteX39" fmla="*/ 121825 w 8451880"/>
              <a:gd name="connsiteY39" fmla="*/ 393192 h 963549"/>
              <a:gd name="connsiteX40" fmla="*/ 160687 w 8451880"/>
              <a:gd name="connsiteY40" fmla="*/ 393192 h 963549"/>
              <a:gd name="connsiteX41" fmla="*/ 173260 w 8451880"/>
              <a:gd name="connsiteY41" fmla="*/ 370332 h 963549"/>
              <a:gd name="connsiteX42" fmla="*/ 416433 w 8451880"/>
              <a:gd name="connsiteY42" fmla="*/ 370332 h 963549"/>
              <a:gd name="connsiteX43" fmla="*/ 465392 w 8451880"/>
              <a:gd name="connsiteY43" fmla="*/ 455676 h 963549"/>
              <a:gd name="connsiteX44" fmla="*/ 465392 w 8451880"/>
              <a:gd name="connsiteY44" fmla="*/ 556736 h 963549"/>
              <a:gd name="connsiteX45" fmla="*/ 500443 w 8451880"/>
              <a:gd name="connsiteY45" fmla="*/ 616839 h 963549"/>
              <a:gd name="connsiteX46" fmla="*/ 500443 w 8451880"/>
              <a:gd name="connsiteY46" fmla="*/ 678275 h 963549"/>
              <a:gd name="connsiteX47" fmla="*/ 563309 w 8451880"/>
              <a:gd name="connsiteY47" fmla="*/ 783527 h 963549"/>
              <a:gd name="connsiteX48" fmla="*/ 563309 w 8451880"/>
              <a:gd name="connsiteY48" fmla="*/ 847344 h 963549"/>
              <a:gd name="connsiteX49" fmla="*/ 594932 w 8451880"/>
              <a:gd name="connsiteY49" fmla="*/ 888492 h 963549"/>
              <a:gd name="connsiteX50" fmla="*/ 609124 w 8451880"/>
              <a:gd name="connsiteY50" fmla="*/ 888492 h 963549"/>
              <a:gd name="connsiteX51" fmla="*/ 628460 w 8451880"/>
              <a:gd name="connsiteY51" fmla="*/ 856488 h 963549"/>
              <a:gd name="connsiteX52" fmla="*/ 628460 w 8451880"/>
              <a:gd name="connsiteY52" fmla="*/ 810292 h 963549"/>
              <a:gd name="connsiteX53" fmla="*/ 717899 w 8451880"/>
              <a:gd name="connsiteY53" fmla="*/ 667226 h 963549"/>
              <a:gd name="connsiteX54" fmla="*/ 718566 w 8451880"/>
              <a:gd name="connsiteY54" fmla="*/ 556165 h 963549"/>
              <a:gd name="connsiteX55" fmla="*/ 790956 w 8451880"/>
              <a:gd name="connsiteY55" fmla="*/ 448056 h 963549"/>
              <a:gd name="connsiteX56" fmla="*/ 843725 w 8451880"/>
              <a:gd name="connsiteY56" fmla="*/ 447770 h 963549"/>
              <a:gd name="connsiteX57" fmla="*/ 861060 w 8451880"/>
              <a:gd name="connsiteY57" fmla="*/ 419957 h 963549"/>
              <a:gd name="connsiteX58" fmla="*/ 767239 w 8451880"/>
              <a:gd name="connsiteY58" fmla="*/ 419957 h 963549"/>
              <a:gd name="connsiteX59" fmla="*/ 691229 w 8451880"/>
              <a:gd name="connsiteY59" fmla="*/ 291370 h 963549"/>
              <a:gd name="connsiteX60" fmla="*/ 689229 w 8451880"/>
              <a:gd name="connsiteY60" fmla="*/ 210407 h 963549"/>
              <a:gd name="connsiteX61" fmla="*/ 640271 w 8451880"/>
              <a:gd name="connsiteY61" fmla="*/ 144399 h 963549"/>
              <a:gd name="connsiteX62" fmla="*/ 532352 w 8451880"/>
              <a:gd name="connsiteY62" fmla="*/ 143447 h 963549"/>
              <a:gd name="connsiteX63" fmla="*/ 483108 w 8451880"/>
              <a:gd name="connsiteY63" fmla="*/ 228410 h 963549"/>
              <a:gd name="connsiteX64" fmla="*/ 271082 w 8451880"/>
              <a:gd name="connsiteY64" fmla="*/ 228410 h 963549"/>
              <a:gd name="connsiteX65" fmla="*/ 227743 w 8451880"/>
              <a:gd name="connsiteY65" fmla="*/ 156782 h 963549"/>
              <a:gd name="connsiteX66" fmla="*/ 200216 w 8451880"/>
              <a:gd name="connsiteY66" fmla="*/ 156782 h 963549"/>
              <a:gd name="connsiteX67" fmla="*/ 152019 w 8451880"/>
              <a:gd name="connsiteY67" fmla="*/ 248126 h 963549"/>
              <a:gd name="connsiteX68" fmla="*/ 150781 w 8451880"/>
              <a:gd name="connsiteY68" fmla="*/ 298990 h 963549"/>
              <a:gd name="connsiteX69" fmla="*/ 153638 w 8451880"/>
              <a:gd name="connsiteY69" fmla="*/ 303562 h 963549"/>
              <a:gd name="connsiteX70" fmla="*/ 157353 w 8451880"/>
              <a:gd name="connsiteY70" fmla="*/ 303467 h 963549"/>
              <a:gd name="connsiteX71" fmla="*/ 161068 w 8451880"/>
              <a:gd name="connsiteY71" fmla="*/ 298990 h 963549"/>
              <a:gd name="connsiteX72" fmla="*/ 525304 w 8451880"/>
              <a:gd name="connsiteY72" fmla="*/ 299180 h 963549"/>
              <a:gd name="connsiteX73" fmla="*/ 578739 w 8451880"/>
              <a:gd name="connsiteY73" fmla="*/ 213741 h 963549"/>
              <a:gd name="connsiteX74" fmla="*/ 607314 w 8451880"/>
              <a:gd name="connsiteY74" fmla="*/ 213741 h 963549"/>
              <a:gd name="connsiteX75" fmla="*/ 629317 w 8451880"/>
              <a:gd name="connsiteY75" fmla="*/ 242697 h 963549"/>
              <a:gd name="connsiteX76" fmla="*/ 629317 w 8451880"/>
              <a:gd name="connsiteY76" fmla="*/ 322326 h 963549"/>
              <a:gd name="connsiteX77" fmla="*/ 704945 w 8451880"/>
              <a:gd name="connsiteY77" fmla="*/ 449294 h 963549"/>
              <a:gd name="connsiteX78" fmla="*/ 648938 w 8451880"/>
              <a:gd name="connsiteY78" fmla="*/ 533400 h 963549"/>
              <a:gd name="connsiteX79" fmla="*/ 647510 w 8451880"/>
              <a:gd name="connsiteY79" fmla="*/ 650558 h 963549"/>
              <a:gd name="connsiteX80" fmla="*/ 603409 w 8451880"/>
              <a:gd name="connsiteY80" fmla="*/ 716852 h 963549"/>
              <a:gd name="connsiteX81" fmla="*/ 563404 w 8451880"/>
              <a:gd name="connsiteY81" fmla="*/ 649700 h 963549"/>
              <a:gd name="connsiteX82" fmla="*/ 563404 w 8451880"/>
              <a:gd name="connsiteY82" fmla="*/ 578644 h 963549"/>
              <a:gd name="connsiteX83" fmla="*/ 537496 w 8451880"/>
              <a:gd name="connsiteY83" fmla="*/ 536258 h 963549"/>
              <a:gd name="connsiteX84" fmla="*/ 537496 w 8451880"/>
              <a:gd name="connsiteY84" fmla="*/ 436721 h 963549"/>
              <a:gd name="connsiteX85" fmla="*/ 498824 w 8451880"/>
              <a:gd name="connsiteY85" fmla="*/ 368999 h 963549"/>
              <a:gd name="connsiteX86" fmla="*/ 581120 w 8451880"/>
              <a:gd name="connsiteY86" fmla="*/ 368999 h 963549"/>
              <a:gd name="connsiteX87" fmla="*/ 627698 w 8451880"/>
              <a:gd name="connsiteY87" fmla="*/ 443579 h 963549"/>
              <a:gd name="connsiteX88" fmla="*/ 592550 w 8451880"/>
              <a:gd name="connsiteY88" fmla="*/ 496729 h 963549"/>
              <a:gd name="connsiteX0" fmla="*/ 14996512 w 14996512"/>
              <a:gd name="connsiteY0" fmla="*/ 19893 h 963549"/>
              <a:gd name="connsiteX1" fmla="*/ 439579 w 14996512"/>
              <a:gd name="connsiteY1" fmla="*/ 0 h 963549"/>
              <a:gd name="connsiteX2" fmla="*/ 399955 w 14996512"/>
              <a:gd name="connsiteY2" fmla="*/ 72009 h 963549"/>
              <a:gd name="connsiteX3" fmla="*/ 351377 w 14996512"/>
              <a:gd name="connsiteY3" fmla="*/ 72390 h 963549"/>
              <a:gd name="connsiteX4" fmla="*/ 307467 w 14996512"/>
              <a:gd name="connsiteY4" fmla="*/ 0 h 963549"/>
              <a:gd name="connsiteX5" fmla="*/ 118967 w 14996512"/>
              <a:gd name="connsiteY5" fmla="*/ 0 h 963549"/>
              <a:gd name="connsiteX6" fmla="*/ 0 w 14996512"/>
              <a:gd name="connsiteY6" fmla="*/ 199739 h 963549"/>
              <a:gd name="connsiteX7" fmla="*/ 0 w 14996512"/>
              <a:gd name="connsiteY7" fmla="*/ 342138 h 963549"/>
              <a:gd name="connsiteX8" fmla="*/ 78296 w 14996512"/>
              <a:gd name="connsiteY8" fmla="*/ 463772 h 963549"/>
              <a:gd name="connsiteX9" fmla="*/ 204216 w 14996512"/>
              <a:gd name="connsiteY9" fmla="*/ 463772 h 963549"/>
              <a:gd name="connsiteX10" fmla="*/ 219647 w 14996512"/>
              <a:gd name="connsiteY10" fmla="*/ 437007 h 963549"/>
              <a:gd name="connsiteX11" fmla="*/ 381000 w 14996512"/>
              <a:gd name="connsiteY11" fmla="*/ 437007 h 963549"/>
              <a:gd name="connsiteX12" fmla="*/ 399288 w 14996512"/>
              <a:gd name="connsiteY12" fmla="*/ 469773 h 963549"/>
              <a:gd name="connsiteX13" fmla="*/ 399288 w 14996512"/>
              <a:gd name="connsiteY13" fmla="*/ 568071 h 963549"/>
              <a:gd name="connsiteX14" fmla="*/ 434245 w 14996512"/>
              <a:gd name="connsiteY14" fmla="*/ 628841 h 963549"/>
              <a:gd name="connsiteX15" fmla="*/ 434054 w 14996512"/>
              <a:gd name="connsiteY15" fmla="*/ 693325 h 963549"/>
              <a:gd name="connsiteX16" fmla="*/ 492728 w 14996512"/>
              <a:gd name="connsiteY16" fmla="*/ 800005 h 963549"/>
              <a:gd name="connsiteX17" fmla="*/ 492728 w 14996512"/>
              <a:gd name="connsiteY17" fmla="*/ 884873 h 963549"/>
              <a:gd name="connsiteX18" fmla="*/ 559118 w 14996512"/>
              <a:gd name="connsiteY18" fmla="*/ 962978 h 963549"/>
              <a:gd name="connsiteX19" fmla="*/ 645414 w 14996512"/>
              <a:gd name="connsiteY19" fmla="*/ 963549 h 963549"/>
              <a:gd name="connsiteX20" fmla="*/ 688372 w 14996512"/>
              <a:gd name="connsiteY20" fmla="*/ 892112 h 963549"/>
              <a:gd name="connsiteX21" fmla="*/ 688372 w 14996512"/>
              <a:gd name="connsiteY21" fmla="*/ 837914 h 963549"/>
              <a:gd name="connsiteX22" fmla="*/ 784479 w 14996512"/>
              <a:gd name="connsiteY22" fmla="*/ 687229 h 963549"/>
              <a:gd name="connsiteX23" fmla="*/ 784479 w 14996512"/>
              <a:gd name="connsiteY23" fmla="*/ 586169 h 963549"/>
              <a:gd name="connsiteX24" fmla="*/ 831152 w 14996512"/>
              <a:gd name="connsiteY24" fmla="*/ 512636 h 963549"/>
              <a:gd name="connsiteX25" fmla="*/ 886968 w 14996512"/>
              <a:gd name="connsiteY25" fmla="*/ 513207 h 963549"/>
              <a:gd name="connsiteX26" fmla="*/ 979075 w 14996512"/>
              <a:gd name="connsiteY26" fmla="*/ 352139 h 963549"/>
              <a:gd name="connsiteX27" fmla="*/ 809530 w 14996512"/>
              <a:gd name="connsiteY27" fmla="*/ 352139 h 963549"/>
              <a:gd name="connsiteX28" fmla="*/ 761333 w 14996512"/>
              <a:gd name="connsiteY28" fmla="*/ 269367 h 963549"/>
              <a:gd name="connsiteX29" fmla="*/ 761429 w 14996512"/>
              <a:gd name="connsiteY29" fmla="*/ 189357 h 963549"/>
              <a:gd name="connsiteX30" fmla="*/ 681419 w 14996512"/>
              <a:gd name="connsiteY30" fmla="*/ 77438 h 963549"/>
              <a:gd name="connsiteX31" fmla="*/ 655511 w 14996512"/>
              <a:gd name="connsiteY31" fmla="*/ 77438 h 963549"/>
              <a:gd name="connsiteX32" fmla="*/ 487299 w 14996512"/>
              <a:gd name="connsiteY32" fmla="*/ 77438 h 963549"/>
              <a:gd name="connsiteX33" fmla="*/ 443293 w 14996512"/>
              <a:gd name="connsiteY33" fmla="*/ 153448 h 963549"/>
              <a:gd name="connsiteX34" fmla="*/ 316421 w 14996512"/>
              <a:gd name="connsiteY34" fmla="*/ 153448 h 963549"/>
              <a:gd name="connsiteX35" fmla="*/ 265843 w 14996512"/>
              <a:gd name="connsiteY35" fmla="*/ 67056 h 963549"/>
              <a:gd name="connsiteX36" fmla="*/ 159639 w 14996512"/>
              <a:gd name="connsiteY36" fmla="*/ 67056 h 963549"/>
              <a:gd name="connsiteX37" fmla="*/ 71914 w 14996512"/>
              <a:gd name="connsiteY37" fmla="*/ 225457 h 963549"/>
              <a:gd name="connsiteX38" fmla="*/ 71914 w 14996512"/>
              <a:gd name="connsiteY38" fmla="*/ 311753 h 963549"/>
              <a:gd name="connsiteX39" fmla="*/ 121825 w 14996512"/>
              <a:gd name="connsiteY39" fmla="*/ 393192 h 963549"/>
              <a:gd name="connsiteX40" fmla="*/ 160687 w 14996512"/>
              <a:gd name="connsiteY40" fmla="*/ 393192 h 963549"/>
              <a:gd name="connsiteX41" fmla="*/ 173260 w 14996512"/>
              <a:gd name="connsiteY41" fmla="*/ 370332 h 963549"/>
              <a:gd name="connsiteX42" fmla="*/ 416433 w 14996512"/>
              <a:gd name="connsiteY42" fmla="*/ 370332 h 963549"/>
              <a:gd name="connsiteX43" fmla="*/ 465392 w 14996512"/>
              <a:gd name="connsiteY43" fmla="*/ 455676 h 963549"/>
              <a:gd name="connsiteX44" fmla="*/ 465392 w 14996512"/>
              <a:gd name="connsiteY44" fmla="*/ 556736 h 963549"/>
              <a:gd name="connsiteX45" fmla="*/ 500443 w 14996512"/>
              <a:gd name="connsiteY45" fmla="*/ 616839 h 963549"/>
              <a:gd name="connsiteX46" fmla="*/ 500443 w 14996512"/>
              <a:gd name="connsiteY46" fmla="*/ 678275 h 963549"/>
              <a:gd name="connsiteX47" fmla="*/ 563309 w 14996512"/>
              <a:gd name="connsiteY47" fmla="*/ 783527 h 963549"/>
              <a:gd name="connsiteX48" fmla="*/ 563309 w 14996512"/>
              <a:gd name="connsiteY48" fmla="*/ 847344 h 963549"/>
              <a:gd name="connsiteX49" fmla="*/ 594932 w 14996512"/>
              <a:gd name="connsiteY49" fmla="*/ 888492 h 963549"/>
              <a:gd name="connsiteX50" fmla="*/ 609124 w 14996512"/>
              <a:gd name="connsiteY50" fmla="*/ 888492 h 963549"/>
              <a:gd name="connsiteX51" fmla="*/ 628460 w 14996512"/>
              <a:gd name="connsiteY51" fmla="*/ 856488 h 963549"/>
              <a:gd name="connsiteX52" fmla="*/ 628460 w 14996512"/>
              <a:gd name="connsiteY52" fmla="*/ 810292 h 963549"/>
              <a:gd name="connsiteX53" fmla="*/ 717899 w 14996512"/>
              <a:gd name="connsiteY53" fmla="*/ 667226 h 963549"/>
              <a:gd name="connsiteX54" fmla="*/ 718566 w 14996512"/>
              <a:gd name="connsiteY54" fmla="*/ 556165 h 963549"/>
              <a:gd name="connsiteX55" fmla="*/ 790956 w 14996512"/>
              <a:gd name="connsiteY55" fmla="*/ 448056 h 963549"/>
              <a:gd name="connsiteX56" fmla="*/ 843725 w 14996512"/>
              <a:gd name="connsiteY56" fmla="*/ 447770 h 963549"/>
              <a:gd name="connsiteX57" fmla="*/ 861060 w 14996512"/>
              <a:gd name="connsiteY57" fmla="*/ 419957 h 963549"/>
              <a:gd name="connsiteX58" fmla="*/ 767239 w 14996512"/>
              <a:gd name="connsiteY58" fmla="*/ 419957 h 963549"/>
              <a:gd name="connsiteX59" fmla="*/ 691229 w 14996512"/>
              <a:gd name="connsiteY59" fmla="*/ 291370 h 963549"/>
              <a:gd name="connsiteX60" fmla="*/ 689229 w 14996512"/>
              <a:gd name="connsiteY60" fmla="*/ 210407 h 963549"/>
              <a:gd name="connsiteX61" fmla="*/ 640271 w 14996512"/>
              <a:gd name="connsiteY61" fmla="*/ 144399 h 963549"/>
              <a:gd name="connsiteX62" fmla="*/ 532352 w 14996512"/>
              <a:gd name="connsiteY62" fmla="*/ 143447 h 963549"/>
              <a:gd name="connsiteX63" fmla="*/ 483108 w 14996512"/>
              <a:gd name="connsiteY63" fmla="*/ 228410 h 963549"/>
              <a:gd name="connsiteX64" fmla="*/ 271082 w 14996512"/>
              <a:gd name="connsiteY64" fmla="*/ 228410 h 963549"/>
              <a:gd name="connsiteX65" fmla="*/ 227743 w 14996512"/>
              <a:gd name="connsiteY65" fmla="*/ 156782 h 963549"/>
              <a:gd name="connsiteX66" fmla="*/ 200216 w 14996512"/>
              <a:gd name="connsiteY66" fmla="*/ 156782 h 963549"/>
              <a:gd name="connsiteX67" fmla="*/ 152019 w 14996512"/>
              <a:gd name="connsiteY67" fmla="*/ 248126 h 963549"/>
              <a:gd name="connsiteX68" fmla="*/ 150781 w 14996512"/>
              <a:gd name="connsiteY68" fmla="*/ 298990 h 963549"/>
              <a:gd name="connsiteX69" fmla="*/ 153638 w 14996512"/>
              <a:gd name="connsiteY69" fmla="*/ 303562 h 963549"/>
              <a:gd name="connsiteX70" fmla="*/ 157353 w 14996512"/>
              <a:gd name="connsiteY70" fmla="*/ 303467 h 963549"/>
              <a:gd name="connsiteX71" fmla="*/ 161068 w 14996512"/>
              <a:gd name="connsiteY71" fmla="*/ 298990 h 963549"/>
              <a:gd name="connsiteX72" fmla="*/ 525304 w 14996512"/>
              <a:gd name="connsiteY72" fmla="*/ 299180 h 963549"/>
              <a:gd name="connsiteX73" fmla="*/ 578739 w 14996512"/>
              <a:gd name="connsiteY73" fmla="*/ 213741 h 963549"/>
              <a:gd name="connsiteX74" fmla="*/ 607314 w 14996512"/>
              <a:gd name="connsiteY74" fmla="*/ 213741 h 963549"/>
              <a:gd name="connsiteX75" fmla="*/ 629317 w 14996512"/>
              <a:gd name="connsiteY75" fmla="*/ 242697 h 963549"/>
              <a:gd name="connsiteX76" fmla="*/ 629317 w 14996512"/>
              <a:gd name="connsiteY76" fmla="*/ 322326 h 963549"/>
              <a:gd name="connsiteX77" fmla="*/ 704945 w 14996512"/>
              <a:gd name="connsiteY77" fmla="*/ 449294 h 963549"/>
              <a:gd name="connsiteX78" fmla="*/ 648938 w 14996512"/>
              <a:gd name="connsiteY78" fmla="*/ 533400 h 963549"/>
              <a:gd name="connsiteX79" fmla="*/ 647510 w 14996512"/>
              <a:gd name="connsiteY79" fmla="*/ 650558 h 963549"/>
              <a:gd name="connsiteX80" fmla="*/ 603409 w 14996512"/>
              <a:gd name="connsiteY80" fmla="*/ 716852 h 963549"/>
              <a:gd name="connsiteX81" fmla="*/ 563404 w 14996512"/>
              <a:gd name="connsiteY81" fmla="*/ 649700 h 963549"/>
              <a:gd name="connsiteX82" fmla="*/ 563404 w 14996512"/>
              <a:gd name="connsiteY82" fmla="*/ 578644 h 963549"/>
              <a:gd name="connsiteX83" fmla="*/ 537496 w 14996512"/>
              <a:gd name="connsiteY83" fmla="*/ 536258 h 963549"/>
              <a:gd name="connsiteX84" fmla="*/ 537496 w 14996512"/>
              <a:gd name="connsiteY84" fmla="*/ 436721 h 963549"/>
              <a:gd name="connsiteX85" fmla="*/ 498824 w 14996512"/>
              <a:gd name="connsiteY85" fmla="*/ 368999 h 963549"/>
              <a:gd name="connsiteX86" fmla="*/ 581120 w 14996512"/>
              <a:gd name="connsiteY86" fmla="*/ 368999 h 963549"/>
              <a:gd name="connsiteX87" fmla="*/ 627698 w 14996512"/>
              <a:gd name="connsiteY87" fmla="*/ 443579 h 963549"/>
              <a:gd name="connsiteX88" fmla="*/ 592550 w 14996512"/>
              <a:gd name="connsiteY88" fmla="*/ 496729 h 963549"/>
              <a:gd name="connsiteX0" fmla="*/ 15115867 w 15115867"/>
              <a:gd name="connsiteY0" fmla="*/ 0 h 1023226"/>
              <a:gd name="connsiteX1" fmla="*/ 439579 w 15115867"/>
              <a:gd name="connsiteY1" fmla="*/ 59677 h 1023226"/>
              <a:gd name="connsiteX2" fmla="*/ 399955 w 15115867"/>
              <a:gd name="connsiteY2" fmla="*/ 131686 h 1023226"/>
              <a:gd name="connsiteX3" fmla="*/ 351377 w 15115867"/>
              <a:gd name="connsiteY3" fmla="*/ 132067 h 1023226"/>
              <a:gd name="connsiteX4" fmla="*/ 307467 w 15115867"/>
              <a:gd name="connsiteY4" fmla="*/ 59677 h 1023226"/>
              <a:gd name="connsiteX5" fmla="*/ 118967 w 15115867"/>
              <a:gd name="connsiteY5" fmla="*/ 59677 h 1023226"/>
              <a:gd name="connsiteX6" fmla="*/ 0 w 15115867"/>
              <a:gd name="connsiteY6" fmla="*/ 259416 h 1023226"/>
              <a:gd name="connsiteX7" fmla="*/ 0 w 15115867"/>
              <a:gd name="connsiteY7" fmla="*/ 401815 h 1023226"/>
              <a:gd name="connsiteX8" fmla="*/ 78296 w 15115867"/>
              <a:gd name="connsiteY8" fmla="*/ 523449 h 1023226"/>
              <a:gd name="connsiteX9" fmla="*/ 204216 w 15115867"/>
              <a:gd name="connsiteY9" fmla="*/ 523449 h 1023226"/>
              <a:gd name="connsiteX10" fmla="*/ 219647 w 15115867"/>
              <a:gd name="connsiteY10" fmla="*/ 496684 h 1023226"/>
              <a:gd name="connsiteX11" fmla="*/ 381000 w 15115867"/>
              <a:gd name="connsiteY11" fmla="*/ 496684 h 1023226"/>
              <a:gd name="connsiteX12" fmla="*/ 399288 w 15115867"/>
              <a:gd name="connsiteY12" fmla="*/ 529450 h 1023226"/>
              <a:gd name="connsiteX13" fmla="*/ 399288 w 15115867"/>
              <a:gd name="connsiteY13" fmla="*/ 627748 h 1023226"/>
              <a:gd name="connsiteX14" fmla="*/ 434245 w 15115867"/>
              <a:gd name="connsiteY14" fmla="*/ 688518 h 1023226"/>
              <a:gd name="connsiteX15" fmla="*/ 434054 w 15115867"/>
              <a:gd name="connsiteY15" fmla="*/ 753002 h 1023226"/>
              <a:gd name="connsiteX16" fmla="*/ 492728 w 15115867"/>
              <a:gd name="connsiteY16" fmla="*/ 859682 h 1023226"/>
              <a:gd name="connsiteX17" fmla="*/ 492728 w 15115867"/>
              <a:gd name="connsiteY17" fmla="*/ 944550 h 1023226"/>
              <a:gd name="connsiteX18" fmla="*/ 559118 w 15115867"/>
              <a:gd name="connsiteY18" fmla="*/ 1022655 h 1023226"/>
              <a:gd name="connsiteX19" fmla="*/ 645414 w 15115867"/>
              <a:gd name="connsiteY19" fmla="*/ 1023226 h 1023226"/>
              <a:gd name="connsiteX20" fmla="*/ 688372 w 15115867"/>
              <a:gd name="connsiteY20" fmla="*/ 951789 h 1023226"/>
              <a:gd name="connsiteX21" fmla="*/ 688372 w 15115867"/>
              <a:gd name="connsiteY21" fmla="*/ 897591 h 1023226"/>
              <a:gd name="connsiteX22" fmla="*/ 784479 w 15115867"/>
              <a:gd name="connsiteY22" fmla="*/ 746906 h 1023226"/>
              <a:gd name="connsiteX23" fmla="*/ 784479 w 15115867"/>
              <a:gd name="connsiteY23" fmla="*/ 645846 h 1023226"/>
              <a:gd name="connsiteX24" fmla="*/ 831152 w 15115867"/>
              <a:gd name="connsiteY24" fmla="*/ 572313 h 1023226"/>
              <a:gd name="connsiteX25" fmla="*/ 886968 w 15115867"/>
              <a:gd name="connsiteY25" fmla="*/ 572884 h 1023226"/>
              <a:gd name="connsiteX26" fmla="*/ 979075 w 15115867"/>
              <a:gd name="connsiteY26" fmla="*/ 411816 h 1023226"/>
              <a:gd name="connsiteX27" fmla="*/ 809530 w 15115867"/>
              <a:gd name="connsiteY27" fmla="*/ 411816 h 1023226"/>
              <a:gd name="connsiteX28" fmla="*/ 761333 w 15115867"/>
              <a:gd name="connsiteY28" fmla="*/ 329044 h 1023226"/>
              <a:gd name="connsiteX29" fmla="*/ 761429 w 15115867"/>
              <a:gd name="connsiteY29" fmla="*/ 249034 h 1023226"/>
              <a:gd name="connsiteX30" fmla="*/ 681419 w 15115867"/>
              <a:gd name="connsiteY30" fmla="*/ 137115 h 1023226"/>
              <a:gd name="connsiteX31" fmla="*/ 655511 w 15115867"/>
              <a:gd name="connsiteY31" fmla="*/ 137115 h 1023226"/>
              <a:gd name="connsiteX32" fmla="*/ 487299 w 15115867"/>
              <a:gd name="connsiteY32" fmla="*/ 137115 h 1023226"/>
              <a:gd name="connsiteX33" fmla="*/ 443293 w 15115867"/>
              <a:gd name="connsiteY33" fmla="*/ 213125 h 1023226"/>
              <a:gd name="connsiteX34" fmla="*/ 316421 w 15115867"/>
              <a:gd name="connsiteY34" fmla="*/ 213125 h 1023226"/>
              <a:gd name="connsiteX35" fmla="*/ 265843 w 15115867"/>
              <a:gd name="connsiteY35" fmla="*/ 126733 h 1023226"/>
              <a:gd name="connsiteX36" fmla="*/ 159639 w 15115867"/>
              <a:gd name="connsiteY36" fmla="*/ 126733 h 1023226"/>
              <a:gd name="connsiteX37" fmla="*/ 71914 w 15115867"/>
              <a:gd name="connsiteY37" fmla="*/ 285134 h 1023226"/>
              <a:gd name="connsiteX38" fmla="*/ 71914 w 15115867"/>
              <a:gd name="connsiteY38" fmla="*/ 371430 h 1023226"/>
              <a:gd name="connsiteX39" fmla="*/ 121825 w 15115867"/>
              <a:gd name="connsiteY39" fmla="*/ 452869 h 1023226"/>
              <a:gd name="connsiteX40" fmla="*/ 160687 w 15115867"/>
              <a:gd name="connsiteY40" fmla="*/ 452869 h 1023226"/>
              <a:gd name="connsiteX41" fmla="*/ 173260 w 15115867"/>
              <a:gd name="connsiteY41" fmla="*/ 430009 h 1023226"/>
              <a:gd name="connsiteX42" fmla="*/ 416433 w 15115867"/>
              <a:gd name="connsiteY42" fmla="*/ 430009 h 1023226"/>
              <a:gd name="connsiteX43" fmla="*/ 465392 w 15115867"/>
              <a:gd name="connsiteY43" fmla="*/ 515353 h 1023226"/>
              <a:gd name="connsiteX44" fmla="*/ 465392 w 15115867"/>
              <a:gd name="connsiteY44" fmla="*/ 616413 h 1023226"/>
              <a:gd name="connsiteX45" fmla="*/ 500443 w 15115867"/>
              <a:gd name="connsiteY45" fmla="*/ 676516 h 1023226"/>
              <a:gd name="connsiteX46" fmla="*/ 500443 w 15115867"/>
              <a:gd name="connsiteY46" fmla="*/ 737952 h 1023226"/>
              <a:gd name="connsiteX47" fmla="*/ 563309 w 15115867"/>
              <a:gd name="connsiteY47" fmla="*/ 843204 h 1023226"/>
              <a:gd name="connsiteX48" fmla="*/ 563309 w 15115867"/>
              <a:gd name="connsiteY48" fmla="*/ 907021 h 1023226"/>
              <a:gd name="connsiteX49" fmla="*/ 594932 w 15115867"/>
              <a:gd name="connsiteY49" fmla="*/ 948169 h 1023226"/>
              <a:gd name="connsiteX50" fmla="*/ 609124 w 15115867"/>
              <a:gd name="connsiteY50" fmla="*/ 948169 h 1023226"/>
              <a:gd name="connsiteX51" fmla="*/ 628460 w 15115867"/>
              <a:gd name="connsiteY51" fmla="*/ 916165 h 1023226"/>
              <a:gd name="connsiteX52" fmla="*/ 628460 w 15115867"/>
              <a:gd name="connsiteY52" fmla="*/ 869969 h 1023226"/>
              <a:gd name="connsiteX53" fmla="*/ 717899 w 15115867"/>
              <a:gd name="connsiteY53" fmla="*/ 726903 h 1023226"/>
              <a:gd name="connsiteX54" fmla="*/ 718566 w 15115867"/>
              <a:gd name="connsiteY54" fmla="*/ 615842 h 1023226"/>
              <a:gd name="connsiteX55" fmla="*/ 790956 w 15115867"/>
              <a:gd name="connsiteY55" fmla="*/ 507733 h 1023226"/>
              <a:gd name="connsiteX56" fmla="*/ 843725 w 15115867"/>
              <a:gd name="connsiteY56" fmla="*/ 507447 h 1023226"/>
              <a:gd name="connsiteX57" fmla="*/ 861060 w 15115867"/>
              <a:gd name="connsiteY57" fmla="*/ 479634 h 1023226"/>
              <a:gd name="connsiteX58" fmla="*/ 767239 w 15115867"/>
              <a:gd name="connsiteY58" fmla="*/ 479634 h 1023226"/>
              <a:gd name="connsiteX59" fmla="*/ 691229 w 15115867"/>
              <a:gd name="connsiteY59" fmla="*/ 351047 h 1023226"/>
              <a:gd name="connsiteX60" fmla="*/ 689229 w 15115867"/>
              <a:gd name="connsiteY60" fmla="*/ 270084 h 1023226"/>
              <a:gd name="connsiteX61" fmla="*/ 640271 w 15115867"/>
              <a:gd name="connsiteY61" fmla="*/ 204076 h 1023226"/>
              <a:gd name="connsiteX62" fmla="*/ 532352 w 15115867"/>
              <a:gd name="connsiteY62" fmla="*/ 203124 h 1023226"/>
              <a:gd name="connsiteX63" fmla="*/ 483108 w 15115867"/>
              <a:gd name="connsiteY63" fmla="*/ 288087 h 1023226"/>
              <a:gd name="connsiteX64" fmla="*/ 271082 w 15115867"/>
              <a:gd name="connsiteY64" fmla="*/ 288087 h 1023226"/>
              <a:gd name="connsiteX65" fmla="*/ 227743 w 15115867"/>
              <a:gd name="connsiteY65" fmla="*/ 216459 h 1023226"/>
              <a:gd name="connsiteX66" fmla="*/ 200216 w 15115867"/>
              <a:gd name="connsiteY66" fmla="*/ 216459 h 1023226"/>
              <a:gd name="connsiteX67" fmla="*/ 152019 w 15115867"/>
              <a:gd name="connsiteY67" fmla="*/ 307803 h 1023226"/>
              <a:gd name="connsiteX68" fmla="*/ 150781 w 15115867"/>
              <a:gd name="connsiteY68" fmla="*/ 358667 h 1023226"/>
              <a:gd name="connsiteX69" fmla="*/ 153638 w 15115867"/>
              <a:gd name="connsiteY69" fmla="*/ 363239 h 1023226"/>
              <a:gd name="connsiteX70" fmla="*/ 157353 w 15115867"/>
              <a:gd name="connsiteY70" fmla="*/ 363144 h 1023226"/>
              <a:gd name="connsiteX71" fmla="*/ 161068 w 15115867"/>
              <a:gd name="connsiteY71" fmla="*/ 358667 h 1023226"/>
              <a:gd name="connsiteX72" fmla="*/ 525304 w 15115867"/>
              <a:gd name="connsiteY72" fmla="*/ 358857 h 1023226"/>
              <a:gd name="connsiteX73" fmla="*/ 578739 w 15115867"/>
              <a:gd name="connsiteY73" fmla="*/ 273418 h 1023226"/>
              <a:gd name="connsiteX74" fmla="*/ 607314 w 15115867"/>
              <a:gd name="connsiteY74" fmla="*/ 273418 h 1023226"/>
              <a:gd name="connsiteX75" fmla="*/ 629317 w 15115867"/>
              <a:gd name="connsiteY75" fmla="*/ 302374 h 1023226"/>
              <a:gd name="connsiteX76" fmla="*/ 629317 w 15115867"/>
              <a:gd name="connsiteY76" fmla="*/ 382003 h 1023226"/>
              <a:gd name="connsiteX77" fmla="*/ 704945 w 15115867"/>
              <a:gd name="connsiteY77" fmla="*/ 508971 h 1023226"/>
              <a:gd name="connsiteX78" fmla="*/ 648938 w 15115867"/>
              <a:gd name="connsiteY78" fmla="*/ 593077 h 1023226"/>
              <a:gd name="connsiteX79" fmla="*/ 647510 w 15115867"/>
              <a:gd name="connsiteY79" fmla="*/ 710235 h 1023226"/>
              <a:gd name="connsiteX80" fmla="*/ 603409 w 15115867"/>
              <a:gd name="connsiteY80" fmla="*/ 776529 h 1023226"/>
              <a:gd name="connsiteX81" fmla="*/ 563404 w 15115867"/>
              <a:gd name="connsiteY81" fmla="*/ 709377 h 1023226"/>
              <a:gd name="connsiteX82" fmla="*/ 563404 w 15115867"/>
              <a:gd name="connsiteY82" fmla="*/ 638321 h 1023226"/>
              <a:gd name="connsiteX83" fmla="*/ 537496 w 15115867"/>
              <a:gd name="connsiteY83" fmla="*/ 595935 h 1023226"/>
              <a:gd name="connsiteX84" fmla="*/ 537496 w 15115867"/>
              <a:gd name="connsiteY84" fmla="*/ 496398 h 1023226"/>
              <a:gd name="connsiteX85" fmla="*/ 498824 w 15115867"/>
              <a:gd name="connsiteY85" fmla="*/ 428676 h 1023226"/>
              <a:gd name="connsiteX86" fmla="*/ 581120 w 15115867"/>
              <a:gd name="connsiteY86" fmla="*/ 428676 h 1023226"/>
              <a:gd name="connsiteX87" fmla="*/ 627698 w 15115867"/>
              <a:gd name="connsiteY87" fmla="*/ 503256 h 1023226"/>
              <a:gd name="connsiteX88" fmla="*/ 592550 w 15115867"/>
              <a:gd name="connsiteY88" fmla="*/ 556406 h 1023226"/>
              <a:gd name="connsiteX0" fmla="*/ 15083451 w 15083451"/>
              <a:gd name="connsiteY0" fmla="*/ 5158 h 963549"/>
              <a:gd name="connsiteX1" fmla="*/ 439579 w 15083451"/>
              <a:gd name="connsiteY1" fmla="*/ 0 h 963549"/>
              <a:gd name="connsiteX2" fmla="*/ 399955 w 15083451"/>
              <a:gd name="connsiteY2" fmla="*/ 72009 h 963549"/>
              <a:gd name="connsiteX3" fmla="*/ 351377 w 15083451"/>
              <a:gd name="connsiteY3" fmla="*/ 72390 h 963549"/>
              <a:gd name="connsiteX4" fmla="*/ 307467 w 15083451"/>
              <a:gd name="connsiteY4" fmla="*/ 0 h 963549"/>
              <a:gd name="connsiteX5" fmla="*/ 118967 w 15083451"/>
              <a:gd name="connsiteY5" fmla="*/ 0 h 963549"/>
              <a:gd name="connsiteX6" fmla="*/ 0 w 15083451"/>
              <a:gd name="connsiteY6" fmla="*/ 199739 h 963549"/>
              <a:gd name="connsiteX7" fmla="*/ 0 w 15083451"/>
              <a:gd name="connsiteY7" fmla="*/ 342138 h 963549"/>
              <a:gd name="connsiteX8" fmla="*/ 78296 w 15083451"/>
              <a:gd name="connsiteY8" fmla="*/ 463772 h 963549"/>
              <a:gd name="connsiteX9" fmla="*/ 204216 w 15083451"/>
              <a:gd name="connsiteY9" fmla="*/ 463772 h 963549"/>
              <a:gd name="connsiteX10" fmla="*/ 219647 w 15083451"/>
              <a:gd name="connsiteY10" fmla="*/ 437007 h 963549"/>
              <a:gd name="connsiteX11" fmla="*/ 381000 w 15083451"/>
              <a:gd name="connsiteY11" fmla="*/ 437007 h 963549"/>
              <a:gd name="connsiteX12" fmla="*/ 399288 w 15083451"/>
              <a:gd name="connsiteY12" fmla="*/ 469773 h 963549"/>
              <a:gd name="connsiteX13" fmla="*/ 399288 w 15083451"/>
              <a:gd name="connsiteY13" fmla="*/ 568071 h 963549"/>
              <a:gd name="connsiteX14" fmla="*/ 434245 w 15083451"/>
              <a:gd name="connsiteY14" fmla="*/ 628841 h 963549"/>
              <a:gd name="connsiteX15" fmla="*/ 434054 w 15083451"/>
              <a:gd name="connsiteY15" fmla="*/ 693325 h 963549"/>
              <a:gd name="connsiteX16" fmla="*/ 492728 w 15083451"/>
              <a:gd name="connsiteY16" fmla="*/ 800005 h 963549"/>
              <a:gd name="connsiteX17" fmla="*/ 492728 w 15083451"/>
              <a:gd name="connsiteY17" fmla="*/ 884873 h 963549"/>
              <a:gd name="connsiteX18" fmla="*/ 559118 w 15083451"/>
              <a:gd name="connsiteY18" fmla="*/ 962978 h 963549"/>
              <a:gd name="connsiteX19" fmla="*/ 645414 w 15083451"/>
              <a:gd name="connsiteY19" fmla="*/ 963549 h 963549"/>
              <a:gd name="connsiteX20" fmla="*/ 688372 w 15083451"/>
              <a:gd name="connsiteY20" fmla="*/ 892112 h 963549"/>
              <a:gd name="connsiteX21" fmla="*/ 688372 w 15083451"/>
              <a:gd name="connsiteY21" fmla="*/ 837914 h 963549"/>
              <a:gd name="connsiteX22" fmla="*/ 784479 w 15083451"/>
              <a:gd name="connsiteY22" fmla="*/ 687229 h 963549"/>
              <a:gd name="connsiteX23" fmla="*/ 784479 w 15083451"/>
              <a:gd name="connsiteY23" fmla="*/ 586169 h 963549"/>
              <a:gd name="connsiteX24" fmla="*/ 831152 w 15083451"/>
              <a:gd name="connsiteY24" fmla="*/ 512636 h 963549"/>
              <a:gd name="connsiteX25" fmla="*/ 886968 w 15083451"/>
              <a:gd name="connsiteY25" fmla="*/ 513207 h 963549"/>
              <a:gd name="connsiteX26" fmla="*/ 979075 w 15083451"/>
              <a:gd name="connsiteY26" fmla="*/ 352139 h 963549"/>
              <a:gd name="connsiteX27" fmla="*/ 809530 w 15083451"/>
              <a:gd name="connsiteY27" fmla="*/ 352139 h 963549"/>
              <a:gd name="connsiteX28" fmla="*/ 761333 w 15083451"/>
              <a:gd name="connsiteY28" fmla="*/ 269367 h 963549"/>
              <a:gd name="connsiteX29" fmla="*/ 761429 w 15083451"/>
              <a:gd name="connsiteY29" fmla="*/ 189357 h 963549"/>
              <a:gd name="connsiteX30" fmla="*/ 681419 w 15083451"/>
              <a:gd name="connsiteY30" fmla="*/ 77438 h 963549"/>
              <a:gd name="connsiteX31" fmla="*/ 655511 w 15083451"/>
              <a:gd name="connsiteY31" fmla="*/ 77438 h 963549"/>
              <a:gd name="connsiteX32" fmla="*/ 487299 w 15083451"/>
              <a:gd name="connsiteY32" fmla="*/ 77438 h 963549"/>
              <a:gd name="connsiteX33" fmla="*/ 443293 w 15083451"/>
              <a:gd name="connsiteY33" fmla="*/ 153448 h 963549"/>
              <a:gd name="connsiteX34" fmla="*/ 316421 w 15083451"/>
              <a:gd name="connsiteY34" fmla="*/ 153448 h 963549"/>
              <a:gd name="connsiteX35" fmla="*/ 265843 w 15083451"/>
              <a:gd name="connsiteY35" fmla="*/ 67056 h 963549"/>
              <a:gd name="connsiteX36" fmla="*/ 159639 w 15083451"/>
              <a:gd name="connsiteY36" fmla="*/ 67056 h 963549"/>
              <a:gd name="connsiteX37" fmla="*/ 71914 w 15083451"/>
              <a:gd name="connsiteY37" fmla="*/ 225457 h 963549"/>
              <a:gd name="connsiteX38" fmla="*/ 71914 w 15083451"/>
              <a:gd name="connsiteY38" fmla="*/ 311753 h 963549"/>
              <a:gd name="connsiteX39" fmla="*/ 121825 w 15083451"/>
              <a:gd name="connsiteY39" fmla="*/ 393192 h 963549"/>
              <a:gd name="connsiteX40" fmla="*/ 160687 w 15083451"/>
              <a:gd name="connsiteY40" fmla="*/ 393192 h 963549"/>
              <a:gd name="connsiteX41" fmla="*/ 173260 w 15083451"/>
              <a:gd name="connsiteY41" fmla="*/ 370332 h 963549"/>
              <a:gd name="connsiteX42" fmla="*/ 416433 w 15083451"/>
              <a:gd name="connsiteY42" fmla="*/ 370332 h 963549"/>
              <a:gd name="connsiteX43" fmla="*/ 465392 w 15083451"/>
              <a:gd name="connsiteY43" fmla="*/ 455676 h 963549"/>
              <a:gd name="connsiteX44" fmla="*/ 465392 w 15083451"/>
              <a:gd name="connsiteY44" fmla="*/ 556736 h 963549"/>
              <a:gd name="connsiteX45" fmla="*/ 500443 w 15083451"/>
              <a:gd name="connsiteY45" fmla="*/ 616839 h 963549"/>
              <a:gd name="connsiteX46" fmla="*/ 500443 w 15083451"/>
              <a:gd name="connsiteY46" fmla="*/ 678275 h 963549"/>
              <a:gd name="connsiteX47" fmla="*/ 563309 w 15083451"/>
              <a:gd name="connsiteY47" fmla="*/ 783527 h 963549"/>
              <a:gd name="connsiteX48" fmla="*/ 563309 w 15083451"/>
              <a:gd name="connsiteY48" fmla="*/ 847344 h 963549"/>
              <a:gd name="connsiteX49" fmla="*/ 594932 w 15083451"/>
              <a:gd name="connsiteY49" fmla="*/ 888492 h 963549"/>
              <a:gd name="connsiteX50" fmla="*/ 609124 w 15083451"/>
              <a:gd name="connsiteY50" fmla="*/ 888492 h 963549"/>
              <a:gd name="connsiteX51" fmla="*/ 628460 w 15083451"/>
              <a:gd name="connsiteY51" fmla="*/ 856488 h 963549"/>
              <a:gd name="connsiteX52" fmla="*/ 628460 w 15083451"/>
              <a:gd name="connsiteY52" fmla="*/ 810292 h 963549"/>
              <a:gd name="connsiteX53" fmla="*/ 717899 w 15083451"/>
              <a:gd name="connsiteY53" fmla="*/ 667226 h 963549"/>
              <a:gd name="connsiteX54" fmla="*/ 718566 w 15083451"/>
              <a:gd name="connsiteY54" fmla="*/ 556165 h 963549"/>
              <a:gd name="connsiteX55" fmla="*/ 790956 w 15083451"/>
              <a:gd name="connsiteY55" fmla="*/ 448056 h 963549"/>
              <a:gd name="connsiteX56" fmla="*/ 843725 w 15083451"/>
              <a:gd name="connsiteY56" fmla="*/ 447770 h 963549"/>
              <a:gd name="connsiteX57" fmla="*/ 861060 w 15083451"/>
              <a:gd name="connsiteY57" fmla="*/ 419957 h 963549"/>
              <a:gd name="connsiteX58" fmla="*/ 767239 w 15083451"/>
              <a:gd name="connsiteY58" fmla="*/ 419957 h 963549"/>
              <a:gd name="connsiteX59" fmla="*/ 691229 w 15083451"/>
              <a:gd name="connsiteY59" fmla="*/ 291370 h 963549"/>
              <a:gd name="connsiteX60" fmla="*/ 689229 w 15083451"/>
              <a:gd name="connsiteY60" fmla="*/ 210407 h 963549"/>
              <a:gd name="connsiteX61" fmla="*/ 640271 w 15083451"/>
              <a:gd name="connsiteY61" fmla="*/ 144399 h 963549"/>
              <a:gd name="connsiteX62" fmla="*/ 532352 w 15083451"/>
              <a:gd name="connsiteY62" fmla="*/ 143447 h 963549"/>
              <a:gd name="connsiteX63" fmla="*/ 483108 w 15083451"/>
              <a:gd name="connsiteY63" fmla="*/ 228410 h 963549"/>
              <a:gd name="connsiteX64" fmla="*/ 271082 w 15083451"/>
              <a:gd name="connsiteY64" fmla="*/ 228410 h 963549"/>
              <a:gd name="connsiteX65" fmla="*/ 227743 w 15083451"/>
              <a:gd name="connsiteY65" fmla="*/ 156782 h 963549"/>
              <a:gd name="connsiteX66" fmla="*/ 200216 w 15083451"/>
              <a:gd name="connsiteY66" fmla="*/ 156782 h 963549"/>
              <a:gd name="connsiteX67" fmla="*/ 152019 w 15083451"/>
              <a:gd name="connsiteY67" fmla="*/ 248126 h 963549"/>
              <a:gd name="connsiteX68" fmla="*/ 150781 w 15083451"/>
              <a:gd name="connsiteY68" fmla="*/ 298990 h 963549"/>
              <a:gd name="connsiteX69" fmla="*/ 153638 w 15083451"/>
              <a:gd name="connsiteY69" fmla="*/ 303562 h 963549"/>
              <a:gd name="connsiteX70" fmla="*/ 157353 w 15083451"/>
              <a:gd name="connsiteY70" fmla="*/ 303467 h 963549"/>
              <a:gd name="connsiteX71" fmla="*/ 161068 w 15083451"/>
              <a:gd name="connsiteY71" fmla="*/ 298990 h 963549"/>
              <a:gd name="connsiteX72" fmla="*/ 525304 w 15083451"/>
              <a:gd name="connsiteY72" fmla="*/ 299180 h 963549"/>
              <a:gd name="connsiteX73" fmla="*/ 578739 w 15083451"/>
              <a:gd name="connsiteY73" fmla="*/ 213741 h 963549"/>
              <a:gd name="connsiteX74" fmla="*/ 607314 w 15083451"/>
              <a:gd name="connsiteY74" fmla="*/ 213741 h 963549"/>
              <a:gd name="connsiteX75" fmla="*/ 629317 w 15083451"/>
              <a:gd name="connsiteY75" fmla="*/ 242697 h 963549"/>
              <a:gd name="connsiteX76" fmla="*/ 629317 w 15083451"/>
              <a:gd name="connsiteY76" fmla="*/ 322326 h 963549"/>
              <a:gd name="connsiteX77" fmla="*/ 704945 w 15083451"/>
              <a:gd name="connsiteY77" fmla="*/ 449294 h 963549"/>
              <a:gd name="connsiteX78" fmla="*/ 648938 w 15083451"/>
              <a:gd name="connsiteY78" fmla="*/ 533400 h 963549"/>
              <a:gd name="connsiteX79" fmla="*/ 647510 w 15083451"/>
              <a:gd name="connsiteY79" fmla="*/ 650558 h 963549"/>
              <a:gd name="connsiteX80" fmla="*/ 603409 w 15083451"/>
              <a:gd name="connsiteY80" fmla="*/ 716852 h 963549"/>
              <a:gd name="connsiteX81" fmla="*/ 563404 w 15083451"/>
              <a:gd name="connsiteY81" fmla="*/ 649700 h 963549"/>
              <a:gd name="connsiteX82" fmla="*/ 563404 w 15083451"/>
              <a:gd name="connsiteY82" fmla="*/ 578644 h 963549"/>
              <a:gd name="connsiteX83" fmla="*/ 537496 w 15083451"/>
              <a:gd name="connsiteY83" fmla="*/ 536258 h 963549"/>
              <a:gd name="connsiteX84" fmla="*/ 537496 w 15083451"/>
              <a:gd name="connsiteY84" fmla="*/ 436721 h 963549"/>
              <a:gd name="connsiteX85" fmla="*/ 498824 w 15083451"/>
              <a:gd name="connsiteY85" fmla="*/ 368999 h 963549"/>
              <a:gd name="connsiteX86" fmla="*/ 581120 w 15083451"/>
              <a:gd name="connsiteY86" fmla="*/ 368999 h 963549"/>
              <a:gd name="connsiteX87" fmla="*/ 627698 w 15083451"/>
              <a:gd name="connsiteY87" fmla="*/ 443579 h 963549"/>
              <a:gd name="connsiteX88" fmla="*/ 592550 w 15083451"/>
              <a:gd name="connsiteY88" fmla="*/ 496729 h 963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15083451" h="963549">
                <a:moveTo>
                  <a:pt x="15083451" y="5158"/>
                </a:moveTo>
                <a:lnTo>
                  <a:pt x="439579" y="0"/>
                </a:lnTo>
                <a:lnTo>
                  <a:pt x="399955" y="72009"/>
                </a:lnTo>
                <a:lnTo>
                  <a:pt x="351377" y="72390"/>
                </a:lnTo>
                <a:lnTo>
                  <a:pt x="307467" y="0"/>
                </a:lnTo>
                <a:lnTo>
                  <a:pt x="118967" y="0"/>
                </a:lnTo>
                <a:lnTo>
                  <a:pt x="0" y="199739"/>
                </a:lnTo>
                <a:lnTo>
                  <a:pt x="0" y="342138"/>
                </a:lnTo>
                <a:lnTo>
                  <a:pt x="78296" y="463772"/>
                </a:lnTo>
                <a:lnTo>
                  <a:pt x="204216" y="463772"/>
                </a:lnTo>
                <a:lnTo>
                  <a:pt x="219647" y="437007"/>
                </a:lnTo>
                <a:lnTo>
                  <a:pt x="381000" y="437007"/>
                </a:lnTo>
                <a:lnTo>
                  <a:pt x="399288" y="469773"/>
                </a:lnTo>
                <a:lnTo>
                  <a:pt x="399288" y="568071"/>
                </a:lnTo>
                <a:lnTo>
                  <a:pt x="434245" y="628841"/>
                </a:lnTo>
                <a:cubicBezTo>
                  <a:pt x="434181" y="650336"/>
                  <a:pt x="434118" y="671830"/>
                  <a:pt x="434054" y="693325"/>
                </a:cubicBezTo>
                <a:lnTo>
                  <a:pt x="492728" y="800005"/>
                </a:lnTo>
                <a:lnTo>
                  <a:pt x="492728" y="884873"/>
                </a:lnTo>
                <a:lnTo>
                  <a:pt x="559118" y="962978"/>
                </a:lnTo>
                <a:lnTo>
                  <a:pt x="645414" y="963549"/>
                </a:lnTo>
                <a:lnTo>
                  <a:pt x="688372" y="892112"/>
                </a:lnTo>
                <a:lnTo>
                  <a:pt x="688372" y="837914"/>
                </a:lnTo>
                <a:lnTo>
                  <a:pt x="784479" y="687229"/>
                </a:lnTo>
                <a:lnTo>
                  <a:pt x="784479" y="586169"/>
                </a:lnTo>
                <a:lnTo>
                  <a:pt x="831152" y="512636"/>
                </a:lnTo>
                <a:lnTo>
                  <a:pt x="886968" y="513207"/>
                </a:lnTo>
                <a:lnTo>
                  <a:pt x="979075" y="352139"/>
                </a:lnTo>
                <a:lnTo>
                  <a:pt x="809530" y="352139"/>
                </a:lnTo>
                <a:lnTo>
                  <a:pt x="761333" y="269367"/>
                </a:lnTo>
                <a:lnTo>
                  <a:pt x="761429" y="189357"/>
                </a:lnTo>
                <a:lnTo>
                  <a:pt x="681419" y="77438"/>
                </a:lnTo>
                <a:lnTo>
                  <a:pt x="655511" y="77438"/>
                </a:lnTo>
                <a:lnTo>
                  <a:pt x="487299" y="77438"/>
                </a:lnTo>
                <a:lnTo>
                  <a:pt x="443293" y="153448"/>
                </a:lnTo>
                <a:lnTo>
                  <a:pt x="316421" y="153448"/>
                </a:lnTo>
                <a:lnTo>
                  <a:pt x="265843" y="67056"/>
                </a:lnTo>
                <a:lnTo>
                  <a:pt x="159639" y="67056"/>
                </a:lnTo>
                <a:lnTo>
                  <a:pt x="71914" y="225457"/>
                </a:lnTo>
                <a:lnTo>
                  <a:pt x="71914" y="311753"/>
                </a:lnTo>
                <a:lnTo>
                  <a:pt x="121825" y="393192"/>
                </a:lnTo>
                <a:lnTo>
                  <a:pt x="160687" y="393192"/>
                </a:lnTo>
                <a:lnTo>
                  <a:pt x="173260" y="370332"/>
                </a:lnTo>
                <a:lnTo>
                  <a:pt x="416433" y="370332"/>
                </a:lnTo>
                <a:lnTo>
                  <a:pt x="465392" y="455676"/>
                </a:lnTo>
                <a:lnTo>
                  <a:pt x="465392" y="556736"/>
                </a:lnTo>
                <a:lnTo>
                  <a:pt x="500443" y="616839"/>
                </a:lnTo>
                <a:lnTo>
                  <a:pt x="500443" y="678275"/>
                </a:lnTo>
                <a:lnTo>
                  <a:pt x="563309" y="783527"/>
                </a:lnTo>
                <a:lnTo>
                  <a:pt x="563309" y="847344"/>
                </a:lnTo>
                <a:lnTo>
                  <a:pt x="594932" y="888492"/>
                </a:lnTo>
                <a:lnTo>
                  <a:pt x="609124" y="888492"/>
                </a:lnTo>
                <a:lnTo>
                  <a:pt x="628460" y="856488"/>
                </a:lnTo>
                <a:lnTo>
                  <a:pt x="628460" y="810292"/>
                </a:lnTo>
                <a:lnTo>
                  <a:pt x="717899" y="667226"/>
                </a:lnTo>
                <a:cubicBezTo>
                  <a:pt x="718121" y="630206"/>
                  <a:pt x="718344" y="593185"/>
                  <a:pt x="718566" y="556165"/>
                </a:cubicBezTo>
                <a:lnTo>
                  <a:pt x="790956" y="448056"/>
                </a:lnTo>
                <a:lnTo>
                  <a:pt x="843725" y="447770"/>
                </a:lnTo>
                <a:lnTo>
                  <a:pt x="861060" y="419957"/>
                </a:lnTo>
                <a:lnTo>
                  <a:pt x="767239" y="419957"/>
                </a:lnTo>
                <a:lnTo>
                  <a:pt x="691229" y="291370"/>
                </a:lnTo>
                <a:cubicBezTo>
                  <a:pt x="690562" y="264382"/>
                  <a:pt x="689896" y="237395"/>
                  <a:pt x="689229" y="210407"/>
                </a:cubicBezTo>
                <a:lnTo>
                  <a:pt x="640271" y="144399"/>
                </a:lnTo>
                <a:lnTo>
                  <a:pt x="532352" y="143447"/>
                </a:lnTo>
                <a:lnTo>
                  <a:pt x="483108" y="228410"/>
                </a:lnTo>
                <a:lnTo>
                  <a:pt x="271082" y="228410"/>
                </a:lnTo>
                <a:lnTo>
                  <a:pt x="227743" y="156782"/>
                </a:lnTo>
                <a:lnTo>
                  <a:pt x="200216" y="156782"/>
                </a:lnTo>
                <a:lnTo>
                  <a:pt x="152019" y="248126"/>
                </a:lnTo>
                <a:cubicBezTo>
                  <a:pt x="151606" y="265081"/>
                  <a:pt x="151194" y="282035"/>
                  <a:pt x="150781" y="298990"/>
                </a:cubicBezTo>
                <a:lnTo>
                  <a:pt x="153638" y="303562"/>
                </a:lnTo>
                <a:lnTo>
                  <a:pt x="157353" y="303467"/>
                </a:lnTo>
                <a:lnTo>
                  <a:pt x="161068" y="298990"/>
                </a:lnTo>
                <a:lnTo>
                  <a:pt x="525304" y="299180"/>
                </a:lnTo>
                <a:lnTo>
                  <a:pt x="578739" y="213741"/>
                </a:lnTo>
                <a:lnTo>
                  <a:pt x="607314" y="213741"/>
                </a:lnTo>
                <a:lnTo>
                  <a:pt x="629317" y="242697"/>
                </a:lnTo>
                <a:lnTo>
                  <a:pt x="629317" y="322326"/>
                </a:lnTo>
                <a:lnTo>
                  <a:pt x="704945" y="449294"/>
                </a:lnTo>
                <a:lnTo>
                  <a:pt x="648938" y="533400"/>
                </a:lnTo>
                <a:lnTo>
                  <a:pt x="647510" y="650558"/>
                </a:lnTo>
                <a:lnTo>
                  <a:pt x="603409" y="716852"/>
                </a:lnTo>
                <a:lnTo>
                  <a:pt x="563404" y="649700"/>
                </a:lnTo>
                <a:lnTo>
                  <a:pt x="563404" y="578644"/>
                </a:lnTo>
                <a:lnTo>
                  <a:pt x="537496" y="536258"/>
                </a:lnTo>
                <a:lnTo>
                  <a:pt x="537496" y="436721"/>
                </a:lnTo>
                <a:lnTo>
                  <a:pt x="498824" y="368999"/>
                </a:lnTo>
                <a:lnTo>
                  <a:pt x="581120" y="368999"/>
                </a:lnTo>
                <a:lnTo>
                  <a:pt x="627698" y="443579"/>
                </a:lnTo>
                <a:lnTo>
                  <a:pt x="592550" y="496729"/>
                </a:lnTo>
              </a:path>
            </a:pathLst>
          </a:custGeom>
          <a:noFill/>
          <a:ln w="7144" cap="flat">
            <a:solidFill>
              <a:srgbClr val="E63C2B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40B27B1-9BEE-85F0-5F8D-2FE6D5DDD203}"/>
              </a:ext>
            </a:extLst>
          </p:cNvPr>
          <p:cNvSpPr/>
          <p:nvPr userDrawn="1"/>
        </p:nvSpPr>
        <p:spPr>
          <a:xfrm>
            <a:off x="501343" y="857543"/>
            <a:ext cx="432048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A1B3B9E-600F-FC15-707B-431B65AD49C7}"/>
              </a:ext>
            </a:extLst>
          </p:cNvPr>
          <p:cNvSpPr/>
          <p:nvPr userDrawn="1"/>
        </p:nvSpPr>
        <p:spPr>
          <a:xfrm>
            <a:off x="380693" y="914693"/>
            <a:ext cx="432048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D1B1B81-36CD-9D78-49C8-71B7E7E54A6F}"/>
              </a:ext>
            </a:extLst>
          </p:cNvPr>
          <p:cNvSpPr/>
          <p:nvPr userDrawn="1"/>
        </p:nvSpPr>
        <p:spPr>
          <a:xfrm>
            <a:off x="69295" y="867068"/>
            <a:ext cx="362505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342909-EEA3-22BC-20EC-DD8352F176C2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6798" y="260004"/>
            <a:ext cx="1428987" cy="97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908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38" r:id="rId13"/>
    <p:sldLayoutId id="2147483839" r:id="rId14"/>
    <p:sldLayoutId id="2147483840" r:id="rId15"/>
    <p:sldLayoutId id="2147483841" r:id="rId16"/>
    <p:sldLayoutId id="2147483842" r:id="rId17"/>
    <p:sldLayoutId id="2147483843" r:id="rId18"/>
    <p:sldLayoutId id="2147483844" r:id="rId19"/>
    <p:sldLayoutId id="2147483845" r:id="rId20"/>
    <p:sldLayoutId id="2147483846" r:id="rId21"/>
    <p:sldLayoutId id="2147483847" r:id="rId22"/>
    <p:sldLayoutId id="2147483848" r:id="rId23"/>
    <p:sldLayoutId id="2147483849" r:id="rId24"/>
    <p:sldLayoutId id="2147483850" r:id="rId25"/>
    <p:sldLayoutId id="2147483851" r:id="rId26"/>
    <p:sldLayoutId id="2147483852" r:id="rId27"/>
    <p:sldLayoutId id="2147483853" r:id="rId28"/>
    <p:sldLayoutId id="2147483855" r:id="rId29"/>
    <p:sldLayoutId id="2147483856" r:id="rId30"/>
  </p:sldLayoutIdLst>
  <p:hf hdr="0" ftr="0" dt="0"/>
  <p:txStyles>
    <p:titleStyle>
      <a:lvl1pPr algn="l" defTabSz="779173" rtl="0" eaLnBrk="1" latinLnBrk="0" hangingPunct="1">
        <a:spcBef>
          <a:spcPct val="0"/>
        </a:spcBef>
        <a:buNone/>
        <a:defRPr sz="2800" b="1" i="0" kern="1200" cap="none" spc="0" baseline="0">
          <a:solidFill>
            <a:schemeClr val="tx1"/>
          </a:solidFill>
          <a:latin typeface="Apex New Bold" panose="02010600040501010103" pitchFamily="2" charset="77"/>
          <a:ea typeface="Apex New Bold" panose="02010600040501010103" pitchFamily="2" charset="77"/>
          <a:cs typeface="+mj-cs"/>
        </a:defRPr>
      </a:lvl1pPr>
    </p:titleStyle>
    <p:bodyStyle>
      <a:lvl1pPr marL="0" indent="0" algn="l" defTabSz="779173" rtl="0" eaLnBrk="1" latinLnBrk="0" hangingPunct="1">
        <a:lnSpc>
          <a:spcPct val="110000"/>
        </a:lnSpc>
        <a:spcBef>
          <a:spcPts val="1023"/>
        </a:spcBef>
        <a:spcAft>
          <a:spcPts val="341"/>
        </a:spcAft>
        <a:buFont typeface="Arial" pitchFamily="34" charset="0"/>
        <a:buNone/>
        <a:defRPr sz="20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228612" indent="-142037" algn="l" defTabSz="779173" rtl="0" eaLnBrk="1" latinLnBrk="0" hangingPunct="1">
        <a:lnSpc>
          <a:spcPct val="110000"/>
        </a:lnSpc>
        <a:spcBef>
          <a:spcPts val="171"/>
        </a:spcBef>
        <a:spcAft>
          <a:spcPts val="171"/>
        </a:spcAft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531623" indent="-160976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›"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764293" indent="-155565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–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1078126" indent="-156917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»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142725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312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98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84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6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73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9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45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32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18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104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91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0">
          <p15:clr>
            <a:srgbClr val="F26B43"/>
          </p15:clr>
        </p15:guide>
        <p15:guide id="4" orient="horz" pos="4156">
          <p15:clr>
            <a:srgbClr val="F26B43"/>
          </p15:clr>
        </p15:guide>
        <p15:guide id="5" orient="horz" pos="2432">
          <p15:clr>
            <a:srgbClr val="F26B43"/>
          </p15:clr>
        </p15:guide>
        <p15:guide id="7" orient="horz" pos="9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48978833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35" imgW="421" imgH="420" progId="TCLayout.ActiveDocument.1">
                  <p:embed/>
                </p:oleObj>
              </mc:Choice>
              <mc:Fallback>
                <p:oleObj name="think-cell Slide" r:id="rId35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4">
            <a:extLst>
              <a:ext uri="{FF2B5EF4-FFF2-40B4-BE49-F238E27FC236}">
                <a16:creationId xmlns:a16="http://schemas.microsoft.com/office/drawing/2014/main" id="{A3145E3B-53D8-24D2-49B8-FC9BEF07CE71}"/>
              </a:ext>
            </a:extLst>
          </p:cNvPr>
          <p:cNvSpPr/>
          <p:nvPr userDrawn="1"/>
        </p:nvSpPr>
        <p:spPr>
          <a:xfrm>
            <a:off x="11521842" y="6474757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E2766E-0E28-428C-7713-F6A0FCA419FF}"/>
              </a:ext>
            </a:extLst>
          </p:cNvPr>
          <p:cNvSpPr/>
          <p:nvPr userDrawn="1"/>
        </p:nvSpPr>
        <p:spPr>
          <a:xfrm>
            <a:off x="11588593" y="65348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 dirty="0">
              <a:solidFill>
                <a:schemeClr val="bg1"/>
              </a:solidFill>
              <a:latin typeface="Tahoma"/>
            </a:endParaRPr>
          </a:p>
        </p:txBody>
      </p:sp>
      <p:sp>
        <p:nvSpPr>
          <p:cNvPr id="7" name="Graphic 64">
            <a:extLst>
              <a:ext uri="{FF2B5EF4-FFF2-40B4-BE49-F238E27FC236}">
                <a16:creationId xmlns:a16="http://schemas.microsoft.com/office/drawing/2014/main" id="{238245C2-535F-687F-738F-83FEEB859035}"/>
              </a:ext>
            </a:extLst>
          </p:cNvPr>
          <p:cNvSpPr/>
          <p:nvPr userDrawn="1"/>
        </p:nvSpPr>
        <p:spPr>
          <a:xfrm>
            <a:off x="209511" y="825398"/>
            <a:ext cx="10134961" cy="647434"/>
          </a:xfrm>
          <a:custGeom>
            <a:avLst/>
            <a:gdLst>
              <a:gd name="connsiteX0" fmla="*/ 7482459 w 7482459"/>
              <a:gd name="connsiteY0" fmla="*/ 0 h 963549"/>
              <a:gd name="connsiteX1" fmla="*/ 439579 w 7482459"/>
              <a:gd name="connsiteY1" fmla="*/ 0 h 963549"/>
              <a:gd name="connsiteX2" fmla="*/ 399955 w 7482459"/>
              <a:gd name="connsiteY2" fmla="*/ 72009 h 963549"/>
              <a:gd name="connsiteX3" fmla="*/ 351377 w 7482459"/>
              <a:gd name="connsiteY3" fmla="*/ 72390 h 963549"/>
              <a:gd name="connsiteX4" fmla="*/ 307467 w 7482459"/>
              <a:gd name="connsiteY4" fmla="*/ 0 h 963549"/>
              <a:gd name="connsiteX5" fmla="*/ 118967 w 7482459"/>
              <a:gd name="connsiteY5" fmla="*/ 0 h 963549"/>
              <a:gd name="connsiteX6" fmla="*/ 0 w 7482459"/>
              <a:gd name="connsiteY6" fmla="*/ 199739 h 963549"/>
              <a:gd name="connsiteX7" fmla="*/ 0 w 7482459"/>
              <a:gd name="connsiteY7" fmla="*/ 342138 h 963549"/>
              <a:gd name="connsiteX8" fmla="*/ 78296 w 7482459"/>
              <a:gd name="connsiteY8" fmla="*/ 463772 h 963549"/>
              <a:gd name="connsiteX9" fmla="*/ 204216 w 7482459"/>
              <a:gd name="connsiteY9" fmla="*/ 463772 h 963549"/>
              <a:gd name="connsiteX10" fmla="*/ 219647 w 7482459"/>
              <a:gd name="connsiteY10" fmla="*/ 437007 h 963549"/>
              <a:gd name="connsiteX11" fmla="*/ 381000 w 7482459"/>
              <a:gd name="connsiteY11" fmla="*/ 437007 h 963549"/>
              <a:gd name="connsiteX12" fmla="*/ 399288 w 7482459"/>
              <a:gd name="connsiteY12" fmla="*/ 469773 h 963549"/>
              <a:gd name="connsiteX13" fmla="*/ 399288 w 7482459"/>
              <a:gd name="connsiteY13" fmla="*/ 568071 h 963549"/>
              <a:gd name="connsiteX14" fmla="*/ 434245 w 7482459"/>
              <a:gd name="connsiteY14" fmla="*/ 628841 h 963549"/>
              <a:gd name="connsiteX15" fmla="*/ 434054 w 7482459"/>
              <a:gd name="connsiteY15" fmla="*/ 693325 h 963549"/>
              <a:gd name="connsiteX16" fmla="*/ 492728 w 7482459"/>
              <a:gd name="connsiteY16" fmla="*/ 800005 h 963549"/>
              <a:gd name="connsiteX17" fmla="*/ 492728 w 7482459"/>
              <a:gd name="connsiteY17" fmla="*/ 884873 h 963549"/>
              <a:gd name="connsiteX18" fmla="*/ 559118 w 7482459"/>
              <a:gd name="connsiteY18" fmla="*/ 962978 h 963549"/>
              <a:gd name="connsiteX19" fmla="*/ 645414 w 7482459"/>
              <a:gd name="connsiteY19" fmla="*/ 963549 h 963549"/>
              <a:gd name="connsiteX20" fmla="*/ 688372 w 7482459"/>
              <a:gd name="connsiteY20" fmla="*/ 892112 h 963549"/>
              <a:gd name="connsiteX21" fmla="*/ 688372 w 7482459"/>
              <a:gd name="connsiteY21" fmla="*/ 837914 h 963549"/>
              <a:gd name="connsiteX22" fmla="*/ 784479 w 7482459"/>
              <a:gd name="connsiteY22" fmla="*/ 687229 h 963549"/>
              <a:gd name="connsiteX23" fmla="*/ 784479 w 7482459"/>
              <a:gd name="connsiteY23" fmla="*/ 586169 h 963549"/>
              <a:gd name="connsiteX24" fmla="*/ 831152 w 7482459"/>
              <a:gd name="connsiteY24" fmla="*/ 512636 h 963549"/>
              <a:gd name="connsiteX25" fmla="*/ 886968 w 7482459"/>
              <a:gd name="connsiteY25" fmla="*/ 513207 h 963549"/>
              <a:gd name="connsiteX26" fmla="*/ 979075 w 7482459"/>
              <a:gd name="connsiteY26" fmla="*/ 352139 h 963549"/>
              <a:gd name="connsiteX27" fmla="*/ 809530 w 7482459"/>
              <a:gd name="connsiteY27" fmla="*/ 352139 h 963549"/>
              <a:gd name="connsiteX28" fmla="*/ 761333 w 7482459"/>
              <a:gd name="connsiteY28" fmla="*/ 269367 h 963549"/>
              <a:gd name="connsiteX29" fmla="*/ 761429 w 7482459"/>
              <a:gd name="connsiteY29" fmla="*/ 189357 h 963549"/>
              <a:gd name="connsiteX30" fmla="*/ 681419 w 7482459"/>
              <a:gd name="connsiteY30" fmla="*/ 77438 h 963549"/>
              <a:gd name="connsiteX31" fmla="*/ 655511 w 7482459"/>
              <a:gd name="connsiteY31" fmla="*/ 77438 h 963549"/>
              <a:gd name="connsiteX32" fmla="*/ 487299 w 7482459"/>
              <a:gd name="connsiteY32" fmla="*/ 77438 h 963549"/>
              <a:gd name="connsiteX33" fmla="*/ 443293 w 7482459"/>
              <a:gd name="connsiteY33" fmla="*/ 153448 h 963549"/>
              <a:gd name="connsiteX34" fmla="*/ 316421 w 7482459"/>
              <a:gd name="connsiteY34" fmla="*/ 153448 h 963549"/>
              <a:gd name="connsiteX35" fmla="*/ 265843 w 7482459"/>
              <a:gd name="connsiteY35" fmla="*/ 67056 h 963549"/>
              <a:gd name="connsiteX36" fmla="*/ 159639 w 7482459"/>
              <a:gd name="connsiteY36" fmla="*/ 67056 h 963549"/>
              <a:gd name="connsiteX37" fmla="*/ 71914 w 7482459"/>
              <a:gd name="connsiteY37" fmla="*/ 225457 h 963549"/>
              <a:gd name="connsiteX38" fmla="*/ 71914 w 7482459"/>
              <a:gd name="connsiteY38" fmla="*/ 311753 h 963549"/>
              <a:gd name="connsiteX39" fmla="*/ 121825 w 7482459"/>
              <a:gd name="connsiteY39" fmla="*/ 393192 h 963549"/>
              <a:gd name="connsiteX40" fmla="*/ 160687 w 7482459"/>
              <a:gd name="connsiteY40" fmla="*/ 393192 h 963549"/>
              <a:gd name="connsiteX41" fmla="*/ 173260 w 7482459"/>
              <a:gd name="connsiteY41" fmla="*/ 370332 h 963549"/>
              <a:gd name="connsiteX42" fmla="*/ 416433 w 7482459"/>
              <a:gd name="connsiteY42" fmla="*/ 370332 h 963549"/>
              <a:gd name="connsiteX43" fmla="*/ 465392 w 7482459"/>
              <a:gd name="connsiteY43" fmla="*/ 455676 h 963549"/>
              <a:gd name="connsiteX44" fmla="*/ 465392 w 7482459"/>
              <a:gd name="connsiteY44" fmla="*/ 556736 h 963549"/>
              <a:gd name="connsiteX45" fmla="*/ 500443 w 7482459"/>
              <a:gd name="connsiteY45" fmla="*/ 616839 h 963549"/>
              <a:gd name="connsiteX46" fmla="*/ 500443 w 7482459"/>
              <a:gd name="connsiteY46" fmla="*/ 678275 h 963549"/>
              <a:gd name="connsiteX47" fmla="*/ 563309 w 7482459"/>
              <a:gd name="connsiteY47" fmla="*/ 783527 h 963549"/>
              <a:gd name="connsiteX48" fmla="*/ 563309 w 7482459"/>
              <a:gd name="connsiteY48" fmla="*/ 847344 h 963549"/>
              <a:gd name="connsiteX49" fmla="*/ 594932 w 7482459"/>
              <a:gd name="connsiteY49" fmla="*/ 888492 h 963549"/>
              <a:gd name="connsiteX50" fmla="*/ 609124 w 7482459"/>
              <a:gd name="connsiteY50" fmla="*/ 888492 h 963549"/>
              <a:gd name="connsiteX51" fmla="*/ 628460 w 7482459"/>
              <a:gd name="connsiteY51" fmla="*/ 856488 h 963549"/>
              <a:gd name="connsiteX52" fmla="*/ 628460 w 7482459"/>
              <a:gd name="connsiteY52" fmla="*/ 810292 h 963549"/>
              <a:gd name="connsiteX53" fmla="*/ 717899 w 7482459"/>
              <a:gd name="connsiteY53" fmla="*/ 667226 h 963549"/>
              <a:gd name="connsiteX54" fmla="*/ 718566 w 7482459"/>
              <a:gd name="connsiteY54" fmla="*/ 556165 h 963549"/>
              <a:gd name="connsiteX55" fmla="*/ 790956 w 7482459"/>
              <a:gd name="connsiteY55" fmla="*/ 448056 h 963549"/>
              <a:gd name="connsiteX56" fmla="*/ 843725 w 7482459"/>
              <a:gd name="connsiteY56" fmla="*/ 447770 h 963549"/>
              <a:gd name="connsiteX57" fmla="*/ 861060 w 7482459"/>
              <a:gd name="connsiteY57" fmla="*/ 419957 h 963549"/>
              <a:gd name="connsiteX58" fmla="*/ 767239 w 7482459"/>
              <a:gd name="connsiteY58" fmla="*/ 419957 h 963549"/>
              <a:gd name="connsiteX59" fmla="*/ 691229 w 7482459"/>
              <a:gd name="connsiteY59" fmla="*/ 291370 h 963549"/>
              <a:gd name="connsiteX60" fmla="*/ 689229 w 7482459"/>
              <a:gd name="connsiteY60" fmla="*/ 210407 h 963549"/>
              <a:gd name="connsiteX61" fmla="*/ 640271 w 7482459"/>
              <a:gd name="connsiteY61" fmla="*/ 144399 h 963549"/>
              <a:gd name="connsiteX62" fmla="*/ 532352 w 7482459"/>
              <a:gd name="connsiteY62" fmla="*/ 143447 h 963549"/>
              <a:gd name="connsiteX63" fmla="*/ 483108 w 7482459"/>
              <a:gd name="connsiteY63" fmla="*/ 228410 h 963549"/>
              <a:gd name="connsiteX64" fmla="*/ 271082 w 7482459"/>
              <a:gd name="connsiteY64" fmla="*/ 228410 h 963549"/>
              <a:gd name="connsiteX65" fmla="*/ 227743 w 7482459"/>
              <a:gd name="connsiteY65" fmla="*/ 156782 h 963549"/>
              <a:gd name="connsiteX66" fmla="*/ 200216 w 7482459"/>
              <a:gd name="connsiteY66" fmla="*/ 156782 h 963549"/>
              <a:gd name="connsiteX67" fmla="*/ 152019 w 7482459"/>
              <a:gd name="connsiteY67" fmla="*/ 248126 h 963549"/>
              <a:gd name="connsiteX68" fmla="*/ 150781 w 7482459"/>
              <a:gd name="connsiteY68" fmla="*/ 298990 h 963549"/>
              <a:gd name="connsiteX69" fmla="*/ 153638 w 7482459"/>
              <a:gd name="connsiteY69" fmla="*/ 303562 h 963549"/>
              <a:gd name="connsiteX70" fmla="*/ 157353 w 7482459"/>
              <a:gd name="connsiteY70" fmla="*/ 303467 h 963549"/>
              <a:gd name="connsiteX71" fmla="*/ 161068 w 7482459"/>
              <a:gd name="connsiteY71" fmla="*/ 298990 h 963549"/>
              <a:gd name="connsiteX72" fmla="*/ 525304 w 7482459"/>
              <a:gd name="connsiteY72" fmla="*/ 299180 h 963549"/>
              <a:gd name="connsiteX73" fmla="*/ 578739 w 7482459"/>
              <a:gd name="connsiteY73" fmla="*/ 213741 h 963549"/>
              <a:gd name="connsiteX74" fmla="*/ 607314 w 7482459"/>
              <a:gd name="connsiteY74" fmla="*/ 213741 h 963549"/>
              <a:gd name="connsiteX75" fmla="*/ 629317 w 7482459"/>
              <a:gd name="connsiteY75" fmla="*/ 242697 h 963549"/>
              <a:gd name="connsiteX76" fmla="*/ 629317 w 7482459"/>
              <a:gd name="connsiteY76" fmla="*/ 322326 h 963549"/>
              <a:gd name="connsiteX77" fmla="*/ 704945 w 7482459"/>
              <a:gd name="connsiteY77" fmla="*/ 449294 h 963549"/>
              <a:gd name="connsiteX78" fmla="*/ 648938 w 7482459"/>
              <a:gd name="connsiteY78" fmla="*/ 533400 h 963549"/>
              <a:gd name="connsiteX79" fmla="*/ 647510 w 7482459"/>
              <a:gd name="connsiteY79" fmla="*/ 650558 h 963549"/>
              <a:gd name="connsiteX80" fmla="*/ 603409 w 7482459"/>
              <a:gd name="connsiteY80" fmla="*/ 716852 h 963549"/>
              <a:gd name="connsiteX81" fmla="*/ 563404 w 7482459"/>
              <a:gd name="connsiteY81" fmla="*/ 649700 h 963549"/>
              <a:gd name="connsiteX82" fmla="*/ 563404 w 7482459"/>
              <a:gd name="connsiteY82" fmla="*/ 578644 h 963549"/>
              <a:gd name="connsiteX83" fmla="*/ 537496 w 7482459"/>
              <a:gd name="connsiteY83" fmla="*/ 536258 h 963549"/>
              <a:gd name="connsiteX84" fmla="*/ 537496 w 7482459"/>
              <a:gd name="connsiteY84" fmla="*/ 436721 h 963549"/>
              <a:gd name="connsiteX85" fmla="*/ 498824 w 7482459"/>
              <a:gd name="connsiteY85" fmla="*/ 368999 h 963549"/>
              <a:gd name="connsiteX86" fmla="*/ 581120 w 7482459"/>
              <a:gd name="connsiteY86" fmla="*/ 368999 h 963549"/>
              <a:gd name="connsiteX87" fmla="*/ 627698 w 7482459"/>
              <a:gd name="connsiteY87" fmla="*/ 443579 h 963549"/>
              <a:gd name="connsiteX88" fmla="*/ 592550 w 7482459"/>
              <a:gd name="connsiteY88" fmla="*/ 496729 h 963549"/>
              <a:gd name="connsiteX0" fmla="*/ 8451880 w 8451880"/>
              <a:gd name="connsiteY0" fmla="*/ 0 h 963549"/>
              <a:gd name="connsiteX1" fmla="*/ 439579 w 8451880"/>
              <a:gd name="connsiteY1" fmla="*/ 0 h 963549"/>
              <a:gd name="connsiteX2" fmla="*/ 399955 w 8451880"/>
              <a:gd name="connsiteY2" fmla="*/ 72009 h 963549"/>
              <a:gd name="connsiteX3" fmla="*/ 351377 w 8451880"/>
              <a:gd name="connsiteY3" fmla="*/ 72390 h 963549"/>
              <a:gd name="connsiteX4" fmla="*/ 307467 w 8451880"/>
              <a:gd name="connsiteY4" fmla="*/ 0 h 963549"/>
              <a:gd name="connsiteX5" fmla="*/ 118967 w 8451880"/>
              <a:gd name="connsiteY5" fmla="*/ 0 h 963549"/>
              <a:gd name="connsiteX6" fmla="*/ 0 w 8451880"/>
              <a:gd name="connsiteY6" fmla="*/ 199739 h 963549"/>
              <a:gd name="connsiteX7" fmla="*/ 0 w 8451880"/>
              <a:gd name="connsiteY7" fmla="*/ 342138 h 963549"/>
              <a:gd name="connsiteX8" fmla="*/ 78296 w 8451880"/>
              <a:gd name="connsiteY8" fmla="*/ 463772 h 963549"/>
              <a:gd name="connsiteX9" fmla="*/ 204216 w 8451880"/>
              <a:gd name="connsiteY9" fmla="*/ 463772 h 963549"/>
              <a:gd name="connsiteX10" fmla="*/ 219647 w 8451880"/>
              <a:gd name="connsiteY10" fmla="*/ 437007 h 963549"/>
              <a:gd name="connsiteX11" fmla="*/ 381000 w 8451880"/>
              <a:gd name="connsiteY11" fmla="*/ 437007 h 963549"/>
              <a:gd name="connsiteX12" fmla="*/ 399288 w 8451880"/>
              <a:gd name="connsiteY12" fmla="*/ 469773 h 963549"/>
              <a:gd name="connsiteX13" fmla="*/ 399288 w 8451880"/>
              <a:gd name="connsiteY13" fmla="*/ 568071 h 963549"/>
              <a:gd name="connsiteX14" fmla="*/ 434245 w 8451880"/>
              <a:gd name="connsiteY14" fmla="*/ 628841 h 963549"/>
              <a:gd name="connsiteX15" fmla="*/ 434054 w 8451880"/>
              <a:gd name="connsiteY15" fmla="*/ 693325 h 963549"/>
              <a:gd name="connsiteX16" fmla="*/ 492728 w 8451880"/>
              <a:gd name="connsiteY16" fmla="*/ 800005 h 963549"/>
              <a:gd name="connsiteX17" fmla="*/ 492728 w 8451880"/>
              <a:gd name="connsiteY17" fmla="*/ 884873 h 963549"/>
              <a:gd name="connsiteX18" fmla="*/ 559118 w 8451880"/>
              <a:gd name="connsiteY18" fmla="*/ 962978 h 963549"/>
              <a:gd name="connsiteX19" fmla="*/ 645414 w 8451880"/>
              <a:gd name="connsiteY19" fmla="*/ 963549 h 963549"/>
              <a:gd name="connsiteX20" fmla="*/ 688372 w 8451880"/>
              <a:gd name="connsiteY20" fmla="*/ 892112 h 963549"/>
              <a:gd name="connsiteX21" fmla="*/ 688372 w 8451880"/>
              <a:gd name="connsiteY21" fmla="*/ 837914 h 963549"/>
              <a:gd name="connsiteX22" fmla="*/ 784479 w 8451880"/>
              <a:gd name="connsiteY22" fmla="*/ 687229 h 963549"/>
              <a:gd name="connsiteX23" fmla="*/ 784479 w 8451880"/>
              <a:gd name="connsiteY23" fmla="*/ 586169 h 963549"/>
              <a:gd name="connsiteX24" fmla="*/ 831152 w 8451880"/>
              <a:gd name="connsiteY24" fmla="*/ 512636 h 963549"/>
              <a:gd name="connsiteX25" fmla="*/ 886968 w 8451880"/>
              <a:gd name="connsiteY25" fmla="*/ 513207 h 963549"/>
              <a:gd name="connsiteX26" fmla="*/ 979075 w 8451880"/>
              <a:gd name="connsiteY26" fmla="*/ 352139 h 963549"/>
              <a:gd name="connsiteX27" fmla="*/ 809530 w 8451880"/>
              <a:gd name="connsiteY27" fmla="*/ 352139 h 963549"/>
              <a:gd name="connsiteX28" fmla="*/ 761333 w 8451880"/>
              <a:gd name="connsiteY28" fmla="*/ 269367 h 963549"/>
              <a:gd name="connsiteX29" fmla="*/ 761429 w 8451880"/>
              <a:gd name="connsiteY29" fmla="*/ 189357 h 963549"/>
              <a:gd name="connsiteX30" fmla="*/ 681419 w 8451880"/>
              <a:gd name="connsiteY30" fmla="*/ 77438 h 963549"/>
              <a:gd name="connsiteX31" fmla="*/ 655511 w 8451880"/>
              <a:gd name="connsiteY31" fmla="*/ 77438 h 963549"/>
              <a:gd name="connsiteX32" fmla="*/ 487299 w 8451880"/>
              <a:gd name="connsiteY32" fmla="*/ 77438 h 963549"/>
              <a:gd name="connsiteX33" fmla="*/ 443293 w 8451880"/>
              <a:gd name="connsiteY33" fmla="*/ 153448 h 963549"/>
              <a:gd name="connsiteX34" fmla="*/ 316421 w 8451880"/>
              <a:gd name="connsiteY34" fmla="*/ 153448 h 963549"/>
              <a:gd name="connsiteX35" fmla="*/ 265843 w 8451880"/>
              <a:gd name="connsiteY35" fmla="*/ 67056 h 963549"/>
              <a:gd name="connsiteX36" fmla="*/ 159639 w 8451880"/>
              <a:gd name="connsiteY36" fmla="*/ 67056 h 963549"/>
              <a:gd name="connsiteX37" fmla="*/ 71914 w 8451880"/>
              <a:gd name="connsiteY37" fmla="*/ 225457 h 963549"/>
              <a:gd name="connsiteX38" fmla="*/ 71914 w 8451880"/>
              <a:gd name="connsiteY38" fmla="*/ 311753 h 963549"/>
              <a:gd name="connsiteX39" fmla="*/ 121825 w 8451880"/>
              <a:gd name="connsiteY39" fmla="*/ 393192 h 963549"/>
              <a:gd name="connsiteX40" fmla="*/ 160687 w 8451880"/>
              <a:gd name="connsiteY40" fmla="*/ 393192 h 963549"/>
              <a:gd name="connsiteX41" fmla="*/ 173260 w 8451880"/>
              <a:gd name="connsiteY41" fmla="*/ 370332 h 963549"/>
              <a:gd name="connsiteX42" fmla="*/ 416433 w 8451880"/>
              <a:gd name="connsiteY42" fmla="*/ 370332 h 963549"/>
              <a:gd name="connsiteX43" fmla="*/ 465392 w 8451880"/>
              <a:gd name="connsiteY43" fmla="*/ 455676 h 963549"/>
              <a:gd name="connsiteX44" fmla="*/ 465392 w 8451880"/>
              <a:gd name="connsiteY44" fmla="*/ 556736 h 963549"/>
              <a:gd name="connsiteX45" fmla="*/ 500443 w 8451880"/>
              <a:gd name="connsiteY45" fmla="*/ 616839 h 963549"/>
              <a:gd name="connsiteX46" fmla="*/ 500443 w 8451880"/>
              <a:gd name="connsiteY46" fmla="*/ 678275 h 963549"/>
              <a:gd name="connsiteX47" fmla="*/ 563309 w 8451880"/>
              <a:gd name="connsiteY47" fmla="*/ 783527 h 963549"/>
              <a:gd name="connsiteX48" fmla="*/ 563309 w 8451880"/>
              <a:gd name="connsiteY48" fmla="*/ 847344 h 963549"/>
              <a:gd name="connsiteX49" fmla="*/ 594932 w 8451880"/>
              <a:gd name="connsiteY49" fmla="*/ 888492 h 963549"/>
              <a:gd name="connsiteX50" fmla="*/ 609124 w 8451880"/>
              <a:gd name="connsiteY50" fmla="*/ 888492 h 963549"/>
              <a:gd name="connsiteX51" fmla="*/ 628460 w 8451880"/>
              <a:gd name="connsiteY51" fmla="*/ 856488 h 963549"/>
              <a:gd name="connsiteX52" fmla="*/ 628460 w 8451880"/>
              <a:gd name="connsiteY52" fmla="*/ 810292 h 963549"/>
              <a:gd name="connsiteX53" fmla="*/ 717899 w 8451880"/>
              <a:gd name="connsiteY53" fmla="*/ 667226 h 963549"/>
              <a:gd name="connsiteX54" fmla="*/ 718566 w 8451880"/>
              <a:gd name="connsiteY54" fmla="*/ 556165 h 963549"/>
              <a:gd name="connsiteX55" fmla="*/ 790956 w 8451880"/>
              <a:gd name="connsiteY55" fmla="*/ 448056 h 963549"/>
              <a:gd name="connsiteX56" fmla="*/ 843725 w 8451880"/>
              <a:gd name="connsiteY56" fmla="*/ 447770 h 963549"/>
              <a:gd name="connsiteX57" fmla="*/ 861060 w 8451880"/>
              <a:gd name="connsiteY57" fmla="*/ 419957 h 963549"/>
              <a:gd name="connsiteX58" fmla="*/ 767239 w 8451880"/>
              <a:gd name="connsiteY58" fmla="*/ 419957 h 963549"/>
              <a:gd name="connsiteX59" fmla="*/ 691229 w 8451880"/>
              <a:gd name="connsiteY59" fmla="*/ 291370 h 963549"/>
              <a:gd name="connsiteX60" fmla="*/ 689229 w 8451880"/>
              <a:gd name="connsiteY60" fmla="*/ 210407 h 963549"/>
              <a:gd name="connsiteX61" fmla="*/ 640271 w 8451880"/>
              <a:gd name="connsiteY61" fmla="*/ 144399 h 963549"/>
              <a:gd name="connsiteX62" fmla="*/ 532352 w 8451880"/>
              <a:gd name="connsiteY62" fmla="*/ 143447 h 963549"/>
              <a:gd name="connsiteX63" fmla="*/ 483108 w 8451880"/>
              <a:gd name="connsiteY63" fmla="*/ 228410 h 963549"/>
              <a:gd name="connsiteX64" fmla="*/ 271082 w 8451880"/>
              <a:gd name="connsiteY64" fmla="*/ 228410 h 963549"/>
              <a:gd name="connsiteX65" fmla="*/ 227743 w 8451880"/>
              <a:gd name="connsiteY65" fmla="*/ 156782 h 963549"/>
              <a:gd name="connsiteX66" fmla="*/ 200216 w 8451880"/>
              <a:gd name="connsiteY66" fmla="*/ 156782 h 963549"/>
              <a:gd name="connsiteX67" fmla="*/ 152019 w 8451880"/>
              <a:gd name="connsiteY67" fmla="*/ 248126 h 963549"/>
              <a:gd name="connsiteX68" fmla="*/ 150781 w 8451880"/>
              <a:gd name="connsiteY68" fmla="*/ 298990 h 963549"/>
              <a:gd name="connsiteX69" fmla="*/ 153638 w 8451880"/>
              <a:gd name="connsiteY69" fmla="*/ 303562 h 963549"/>
              <a:gd name="connsiteX70" fmla="*/ 157353 w 8451880"/>
              <a:gd name="connsiteY70" fmla="*/ 303467 h 963549"/>
              <a:gd name="connsiteX71" fmla="*/ 161068 w 8451880"/>
              <a:gd name="connsiteY71" fmla="*/ 298990 h 963549"/>
              <a:gd name="connsiteX72" fmla="*/ 525304 w 8451880"/>
              <a:gd name="connsiteY72" fmla="*/ 299180 h 963549"/>
              <a:gd name="connsiteX73" fmla="*/ 578739 w 8451880"/>
              <a:gd name="connsiteY73" fmla="*/ 213741 h 963549"/>
              <a:gd name="connsiteX74" fmla="*/ 607314 w 8451880"/>
              <a:gd name="connsiteY74" fmla="*/ 213741 h 963549"/>
              <a:gd name="connsiteX75" fmla="*/ 629317 w 8451880"/>
              <a:gd name="connsiteY75" fmla="*/ 242697 h 963549"/>
              <a:gd name="connsiteX76" fmla="*/ 629317 w 8451880"/>
              <a:gd name="connsiteY76" fmla="*/ 322326 h 963549"/>
              <a:gd name="connsiteX77" fmla="*/ 704945 w 8451880"/>
              <a:gd name="connsiteY77" fmla="*/ 449294 h 963549"/>
              <a:gd name="connsiteX78" fmla="*/ 648938 w 8451880"/>
              <a:gd name="connsiteY78" fmla="*/ 533400 h 963549"/>
              <a:gd name="connsiteX79" fmla="*/ 647510 w 8451880"/>
              <a:gd name="connsiteY79" fmla="*/ 650558 h 963549"/>
              <a:gd name="connsiteX80" fmla="*/ 603409 w 8451880"/>
              <a:gd name="connsiteY80" fmla="*/ 716852 h 963549"/>
              <a:gd name="connsiteX81" fmla="*/ 563404 w 8451880"/>
              <a:gd name="connsiteY81" fmla="*/ 649700 h 963549"/>
              <a:gd name="connsiteX82" fmla="*/ 563404 w 8451880"/>
              <a:gd name="connsiteY82" fmla="*/ 578644 h 963549"/>
              <a:gd name="connsiteX83" fmla="*/ 537496 w 8451880"/>
              <a:gd name="connsiteY83" fmla="*/ 536258 h 963549"/>
              <a:gd name="connsiteX84" fmla="*/ 537496 w 8451880"/>
              <a:gd name="connsiteY84" fmla="*/ 436721 h 963549"/>
              <a:gd name="connsiteX85" fmla="*/ 498824 w 8451880"/>
              <a:gd name="connsiteY85" fmla="*/ 368999 h 963549"/>
              <a:gd name="connsiteX86" fmla="*/ 581120 w 8451880"/>
              <a:gd name="connsiteY86" fmla="*/ 368999 h 963549"/>
              <a:gd name="connsiteX87" fmla="*/ 627698 w 8451880"/>
              <a:gd name="connsiteY87" fmla="*/ 443579 h 963549"/>
              <a:gd name="connsiteX88" fmla="*/ 592550 w 8451880"/>
              <a:gd name="connsiteY88" fmla="*/ 496729 h 963549"/>
              <a:gd name="connsiteX0" fmla="*/ 14996512 w 14996512"/>
              <a:gd name="connsiteY0" fmla="*/ 19893 h 963549"/>
              <a:gd name="connsiteX1" fmla="*/ 439579 w 14996512"/>
              <a:gd name="connsiteY1" fmla="*/ 0 h 963549"/>
              <a:gd name="connsiteX2" fmla="*/ 399955 w 14996512"/>
              <a:gd name="connsiteY2" fmla="*/ 72009 h 963549"/>
              <a:gd name="connsiteX3" fmla="*/ 351377 w 14996512"/>
              <a:gd name="connsiteY3" fmla="*/ 72390 h 963549"/>
              <a:gd name="connsiteX4" fmla="*/ 307467 w 14996512"/>
              <a:gd name="connsiteY4" fmla="*/ 0 h 963549"/>
              <a:gd name="connsiteX5" fmla="*/ 118967 w 14996512"/>
              <a:gd name="connsiteY5" fmla="*/ 0 h 963549"/>
              <a:gd name="connsiteX6" fmla="*/ 0 w 14996512"/>
              <a:gd name="connsiteY6" fmla="*/ 199739 h 963549"/>
              <a:gd name="connsiteX7" fmla="*/ 0 w 14996512"/>
              <a:gd name="connsiteY7" fmla="*/ 342138 h 963549"/>
              <a:gd name="connsiteX8" fmla="*/ 78296 w 14996512"/>
              <a:gd name="connsiteY8" fmla="*/ 463772 h 963549"/>
              <a:gd name="connsiteX9" fmla="*/ 204216 w 14996512"/>
              <a:gd name="connsiteY9" fmla="*/ 463772 h 963549"/>
              <a:gd name="connsiteX10" fmla="*/ 219647 w 14996512"/>
              <a:gd name="connsiteY10" fmla="*/ 437007 h 963549"/>
              <a:gd name="connsiteX11" fmla="*/ 381000 w 14996512"/>
              <a:gd name="connsiteY11" fmla="*/ 437007 h 963549"/>
              <a:gd name="connsiteX12" fmla="*/ 399288 w 14996512"/>
              <a:gd name="connsiteY12" fmla="*/ 469773 h 963549"/>
              <a:gd name="connsiteX13" fmla="*/ 399288 w 14996512"/>
              <a:gd name="connsiteY13" fmla="*/ 568071 h 963549"/>
              <a:gd name="connsiteX14" fmla="*/ 434245 w 14996512"/>
              <a:gd name="connsiteY14" fmla="*/ 628841 h 963549"/>
              <a:gd name="connsiteX15" fmla="*/ 434054 w 14996512"/>
              <a:gd name="connsiteY15" fmla="*/ 693325 h 963549"/>
              <a:gd name="connsiteX16" fmla="*/ 492728 w 14996512"/>
              <a:gd name="connsiteY16" fmla="*/ 800005 h 963549"/>
              <a:gd name="connsiteX17" fmla="*/ 492728 w 14996512"/>
              <a:gd name="connsiteY17" fmla="*/ 884873 h 963549"/>
              <a:gd name="connsiteX18" fmla="*/ 559118 w 14996512"/>
              <a:gd name="connsiteY18" fmla="*/ 962978 h 963549"/>
              <a:gd name="connsiteX19" fmla="*/ 645414 w 14996512"/>
              <a:gd name="connsiteY19" fmla="*/ 963549 h 963549"/>
              <a:gd name="connsiteX20" fmla="*/ 688372 w 14996512"/>
              <a:gd name="connsiteY20" fmla="*/ 892112 h 963549"/>
              <a:gd name="connsiteX21" fmla="*/ 688372 w 14996512"/>
              <a:gd name="connsiteY21" fmla="*/ 837914 h 963549"/>
              <a:gd name="connsiteX22" fmla="*/ 784479 w 14996512"/>
              <a:gd name="connsiteY22" fmla="*/ 687229 h 963549"/>
              <a:gd name="connsiteX23" fmla="*/ 784479 w 14996512"/>
              <a:gd name="connsiteY23" fmla="*/ 586169 h 963549"/>
              <a:gd name="connsiteX24" fmla="*/ 831152 w 14996512"/>
              <a:gd name="connsiteY24" fmla="*/ 512636 h 963549"/>
              <a:gd name="connsiteX25" fmla="*/ 886968 w 14996512"/>
              <a:gd name="connsiteY25" fmla="*/ 513207 h 963549"/>
              <a:gd name="connsiteX26" fmla="*/ 979075 w 14996512"/>
              <a:gd name="connsiteY26" fmla="*/ 352139 h 963549"/>
              <a:gd name="connsiteX27" fmla="*/ 809530 w 14996512"/>
              <a:gd name="connsiteY27" fmla="*/ 352139 h 963549"/>
              <a:gd name="connsiteX28" fmla="*/ 761333 w 14996512"/>
              <a:gd name="connsiteY28" fmla="*/ 269367 h 963549"/>
              <a:gd name="connsiteX29" fmla="*/ 761429 w 14996512"/>
              <a:gd name="connsiteY29" fmla="*/ 189357 h 963549"/>
              <a:gd name="connsiteX30" fmla="*/ 681419 w 14996512"/>
              <a:gd name="connsiteY30" fmla="*/ 77438 h 963549"/>
              <a:gd name="connsiteX31" fmla="*/ 655511 w 14996512"/>
              <a:gd name="connsiteY31" fmla="*/ 77438 h 963549"/>
              <a:gd name="connsiteX32" fmla="*/ 487299 w 14996512"/>
              <a:gd name="connsiteY32" fmla="*/ 77438 h 963549"/>
              <a:gd name="connsiteX33" fmla="*/ 443293 w 14996512"/>
              <a:gd name="connsiteY33" fmla="*/ 153448 h 963549"/>
              <a:gd name="connsiteX34" fmla="*/ 316421 w 14996512"/>
              <a:gd name="connsiteY34" fmla="*/ 153448 h 963549"/>
              <a:gd name="connsiteX35" fmla="*/ 265843 w 14996512"/>
              <a:gd name="connsiteY35" fmla="*/ 67056 h 963549"/>
              <a:gd name="connsiteX36" fmla="*/ 159639 w 14996512"/>
              <a:gd name="connsiteY36" fmla="*/ 67056 h 963549"/>
              <a:gd name="connsiteX37" fmla="*/ 71914 w 14996512"/>
              <a:gd name="connsiteY37" fmla="*/ 225457 h 963549"/>
              <a:gd name="connsiteX38" fmla="*/ 71914 w 14996512"/>
              <a:gd name="connsiteY38" fmla="*/ 311753 h 963549"/>
              <a:gd name="connsiteX39" fmla="*/ 121825 w 14996512"/>
              <a:gd name="connsiteY39" fmla="*/ 393192 h 963549"/>
              <a:gd name="connsiteX40" fmla="*/ 160687 w 14996512"/>
              <a:gd name="connsiteY40" fmla="*/ 393192 h 963549"/>
              <a:gd name="connsiteX41" fmla="*/ 173260 w 14996512"/>
              <a:gd name="connsiteY41" fmla="*/ 370332 h 963549"/>
              <a:gd name="connsiteX42" fmla="*/ 416433 w 14996512"/>
              <a:gd name="connsiteY42" fmla="*/ 370332 h 963549"/>
              <a:gd name="connsiteX43" fmla="*/ 465392 w 14996512"/>
              <a:gd name="connsiteY43" fmla="*/ 455676 h 963549"/>
              <a:gd name="connsiteX44" fmla="*/ 465392 w 14996512"/>
              <a:gd name="connsiteY44" fmla="*/ 556736 h 963549"/>
              <a:gd name="connsiteX45" fmla="*/ 500443 w 14996512"/>
              <a:gd name="connsiteY45" fmla="*/ 616839 h 963549"/>
              <a:gd name="connsiteX46" fmla="*/ 500443 w 14996512"/>
              <a:gd name="connsiteY46" fmla="*/ 678275 h 963549"/>
              <a:gd name="connsiteX47" fmla="*/ 563309 w 14996512"/>
              <a:gd name="connsiteY47" fmla="*/ 783527 h 963549"/>
              <a:gd name="connsiteX48" fmla="*/ 563309 w 14996512"/>
              <a:gd name="connsiteY48" fmla="*/ 847344 h 963549"/>
              <a:gd name="connsiteX49" fmla="*/ 594932 w 14996512"/>
              <a:gd name="connsiteY49" fmla="*/ 888492 h 963549"/>
              <a:gd name="connsiteX50" fmla="*/ 609124 w 14996512"/>
              <a:gd name="connsiteY50" fmla="*/ 888492 h 963549"/>
              <a:gd name="connsiteX51" fmla="*/ 628460 w 14996512"/>
              <a:gd name="connsiteY51" fmla="*/ 856488 h 963549"/>
              <a:gd name="connsiteX52" fmla="*/ 628460 w 14996512"/>
              <a:gd name="connsiteY52" fmla="*/ 810292 h 963549"/>
              <a:gd name="connsiteX53" fmla="*/ 717899 w 14996512"/>
              <a:gd name="connsiteY53" fmla="*/ 667226 h 963549"/>
              <a:gd name="connsiteX54" fmla="*/ 718566 w 14996512"/>
              <a:gd name="connsiteY54" fmla="*/ 556165 h 963549"/>
              <a:gd name="connsiteX55" fmla="*/ 790956 w 14996512"/>
              <a:gd name="connsiteY55" fmla="*/ 448056 h 963549"/>
              <a:gd name="connsiteX56" fmla="*/ 843725 w 14996512"/>
              <a:gd name="connsiteY56" fmla="*/ 447770 h 963549"/>
              <a:gd name="connsiteX57" fmla="*/ 861060 w 14996512"/>
              <a:gd name="connsiteY57" fmla="*/ 419957 h 963549"/>
              <a:gd name="connsiteX58" fmla="*/ 767239 w 14996512"/>
              <a:gd name="connsiteY58" fmla="*/ 419957 h 963549"/>
              <a:gd name="connsiteX59" fmla="*/ 691229 w 14996512"/>
              <a:gd name="connsiteY59" fmla="*/ 291370 h 963549"/>
              <a:gd name="connsiteX60" fmla="*/ 689229 w 14996512"/>
              <a:gd name="connsiteY60" fmla="*/ 210407 h 963549"/>
              <a:gd name="connsiteX61" fmla="*/ 640271 w 14996512"/>
              <a:gd name="connsiteY61" fmla="*/ 144399 h 963549"/>
              <a:gd name="connsiteX62" fmla="*/ 532352 w 14996512"/>
              <a:gd name="connsiteY62" fmla="*/ 143447 h 963549"/>
              <a:gd name="connsiteX63" fmla="*/ 483108 w 14996512"/>
              <a:gd name="connsiteY63" fmla="*/ 228410 h 963549"/>
              <a:gd name="connsiteX64" fmla="*/ 271082 w 14996512"/>
              <a:gd name="connsiteY64" fmla="*/ 228410 h 963549"/>
              <a:gd name="connsiteX65" fmla="*/ 227743 w 14996512"/>
              <a:gd name="connsiteY65" fmla="*/ 156782 h 963549"/>
              <a:gd name="connsiteX66" fmla="*/ 200216 w 14996512"/>
              <a:gd name="connsiteY66" fmla="*/ 156782 h 963549"/>
              <a:gd name="connsiteX67" fmla="*/ 152019 w 14996512"/>
              <a:gd name="connsiteY67" fmla="*/ 248126 h 963549"/>
              <a:gd name="connsiteX68" fmla="*/ 150781 w 14996512"/>
              <a:gd name="connsiteY68" fmla="*/ 298990 h 963549"/>
              <a:gd name="connsiteX69" fmla="*/ 153638 w 14996512"/>
              <a:gd name="connsiteY69" fmla="*/ 303562 h 963549"/>
              <a:gd name="connsiteX70" fmla="*/ 157353 w 14996512"/>
              <a:gd name="connsiteY70" fmla="*/ 303467 h 963549"/>
              <a:gd name="connsiteX71" fmla="*/ 161068 w 14996512"/>
              <a:gd name="connsiteY71" fmla="*/ 298990 h 963549"/>
              <a:gd name="connsiteX72" fmla="*/ 525304 w 14996512"/>
              <a:gd name="connsiteY72" fmla="*/ 299180 h 963549"/>
              <a:gd name="connsiteX73" fmla="*/ 578739 w 14996512"/>
              <a:gd name="connsiteY73" fmla="*/ 213741 h 963549"/>
              <a:gd name="connsiteX74" fmla="*/ 607314 w 14996512"/>
              <a:gd name="connsiteY74" fmla="*/ 213741 h 963549"/>
              <a:gd name="connsiteX75" fmla="*/ 629317 w 14996512"/>
              <a:gd name="connsiteY75" fmla="*/ 242697 h 963549"/>
              <a:gd name="connsiteX76" fmla="*/ 629317 w 14996512"/>
              <a:gd name="connsiteY76" fmla="*/ 322326 h 963549"/>
              <a:gd name="connsiteX77" fmla="*/ 704945 w 14996512"/>
              <a:gd name="connsiteY77" fmla="*/ 449294 h 963549"/>
              <a:gd name="connsiteX78" fmla="*/ 648938 w 14996512"/>
              <a:gd name="connsiteY78" fmla="*/ 533400 h 963549"/>
              <a:gd name="connsiteX79" fmla="*/ 647510 w 14996512"/>
              <a:gd name="connsiteY79" fmla="*/ 650558 h 963549"/>
              <a:gd name="connsiteX80" fmla="*/ 603409 w 14996512"/>
              <a:gd name="connsiteY80" fmla="*/ 716852 h 963549"/>
              <a:gd name="connsiteX81" fmla="*/ 563404 w 14996512"/>
              <a:gd name="connsiteY81" fmla="*/ 649700 h 963549"/>
              <a:gd name="connsiteX82" fmla="*/ 563404 w 14996512"/>
              <a:gd name="connsiteY82" fmla="*/ 578644 h 963549"/>
              <a:gd name="connsiteX83" fmla="*/ 537496 w 14996512"/>
              <a:gd name="connsiteY83" fmla="*/ 536258 h 963549"/>
              <a:gd name="connsiteX84" fmla="*/ 537496 w 14996512"/>
              <a:gd name="connsiteY84" fmla="*/ 436721 h 963549"/>
              <a:gd name="connsiteX85" fmla="*/ 498824 w 14996512"/>
              <a:gd name="connsiteY85" fmla="*/ 368999 h 963549"/>
              <a:gd name="connsiteX86" fmla="*/ 581120 w 14996512"/>
              <a:gd name="connsiteY86" fmla="*/ 368999 h 963549"/>
              <a:gd name="connsiteX87" fmla="*/ 627698 w 14996512"/>
              <a:gd name="connsiteY87" fmla="*/ 443579 h 963549"/>
              <a:gd name="connsiteX88" fmla="*/ 592550 w 14996512"/>
              <a:gd name="connsiteY88" fmla="*/ 496729 h 963549"/>
              <a:gd name="connsiteX0" fmla="*/ 15115867 w 15115867"/>
              <a:gd name="connsiteY0" fmla="*/ 0 h 1023226"/>
              <a:gd name="connsiteX1" fmla="*/ 439579 w 15115867"/>
              <a:gd name="connsiteY1" fmla="*/ 59677 h 1023226"/>
              <a:gd name="connsiteX2" fmla="*/ 399955 w 15115867"/>
              <a:gd name="connsiteY2" fmla="*/ 131686 h 1023226"/>
              <a:gd name="connsiteX3" fmla="*/ 351377 w 15115867"/>
              <a:gd name="connsiteY3" fmla="*/ 132067 h 1023226"/>
              <a:gd name="connsiteX4" fmla="*/ 307467 w 15115867"/>
              <a:gd name="connsiteY4" fmla="*/ 59677 h 1023226"/>
              <a:gd name="connsiteX5" fmla="*/ 118967 w 15115867"/>
              <a:gd name="connsiteY5" fmla="*/ 59677 h 1023226"/>
              <a:gd name="connsiteX6" fmla="*/ 0 w 15115867"/>
              <a:gd name="connsiteY6" fmla="*/ 259416 h 1023226"/>
              <a:gd name="connsiteX7" fmla="*/ 0 w 15115867"/>
              <a:gd name="connsiteY7" fmla="*/ 401815 h 1023226"/>
              <a:gd name="connsiteX8" fmla="*/ 78296 w 15115867"/>
              <a:gd name="connsiteY8" fmla="*/ 523449 h 1023226"/>
              <a:gd name="connsiteX9" fmla="*/ 204216 w 15115867"/>
              <a:gd name="connsiteY9" fmla="*/ 523449 h 1023226"/>
              <a:gd name="connsiteX10" fmla="*/ 219647 w 15115867"/>
              <a:gd name="connsiteY10" fmla="*/ 496684 h 1023226"/>
              <a:gd name="connsiteX11" fmla="*/ 381000 w 15115867"/>
              <a:gd name="connsiteY11" fmla="*/ 496684 h 1023226"/>
              <a:gd name="connsiteX12" fmla="*/ 399288 w 15115867"/>
              <a:gd name="connsiteY12" fmla="*/ 529450 h 1023226"/>
              <a:gd name="connsiteX13" fmla="*/ 399288 w 15115867"/>
              <a:gd name="connsiteY13" fmla="*/ 627748 h 1023226"/>
              <a:gd name="connsiteX14" fmla="*/ 434245 w 15115867"/>
              <a:gd name="connsiteY14" fmla="*/ 688518 h 1023226"/>
              <a:gd name="connsiteX15" fmla="*/ 434054 w 15115867"/>
              <a:gd name="connsiteY15" fmla="*/ 753002 h 1023226"/>
              <a:gd name="connsiteX16" fmla="*/ 492728 w 15115867"/>
              <a:gd name="connsiteY16" fmla="*/ 859682 h 1023226"/>
              <a:gd name="connsiteX17" fmla="*/ 492728 w 15115867"/>
              <a:gd name="connsiteY17" fmla="*/ 944550 h 1023226"/>
              <a:gd name="connsiteX18" fmla="*/ 559118 w 15115867"/>
              <a:gd name="connsiteY18" fmla="*/ 1022655 h 1023226"/>
              <a:gd name="connsiteX19" fmla="*/ 645414 w 15115867"/>
              <a:gd name="connsiteY19" fmla="*/ 1023226 h 1023226"/>
              <a:gd name="connsiteX20" fmla="*/ 688372 w 15115867"/>
              <a:gd name="connsiteY20" fmla="*/ 951789 h 1023226"/>
              <a:gd name="connsiteX21" fmla="*/ 688372 w 15115867"/>
              <a:gd name="connsiteY21" fmla="*/ 897591 h 1023226"/>
              <a:gd name="connsiteX22" fmla="*/ 784479 w 15115867"/>
              <a:gd name="connsiteY22" fmla="*/ 746906 h 1023226"/>
              <a:gd name="connsiteX23" fmla="*/ 784479 w 15115867"/>
              <a:gd name="connsiteY23" fmla="*/ 645846 h 1023226"/>
              <a:gd name="connsiteX24" fmla="*/ 831152 w 15115867"/>
              <a:gd name="connsiteY24" fmla="*/ 572313 h 1023226"/>
              <a:gd name="connsiteX25" fmla="*/ 886968 w 15115867"/>
              <a:gd name="connsiteY25" fmla="*/ 572884 h 1023226"/>
              <a:gd name="connsiteX26" fmla="*/ 979075 w 15115867"/>
              <a:gd name="connsiteY26" fmla="*/ 411816 h 1023226"/>
              <a:gd name="connsiteX27" fmla="*/ 809530 w 15115867"/>
              <a:gd name="connsiteY27" fmla="*/ 411816 h 1023226"/>
              <a:gd name="connsiteX28" fmla="*/ 761333 w 15115867"/>
              <a:gd name="connsiteY28" fmla="*/ 329044 h 1023226"/>
              <a:gd name="connsiteX29" fmla="*/ 761429 w 15115867"/>
              <a:gd name="connsiteY29" fmla="*/ 249034 h 1023226"/>
              <a:gd name="connsiteX30" fmla="*/ 681419 w 15115867"/>
              <a:gd name="connsiteY30" fmla="*/ 137115 h 1023226"/>
              <a:gd name="connsiteX31" fmla="*/ 655511 w 15115867"/>
              <a:gd name="connsiteY31" fmla="*/ 137115 h 1023226"/>
              <a:gd name="connsiteX32" fmla="*/ 487299 w 15115867"/>
              <a:gd name="connsiteY32" fmla="*/ 137115 h 1023226"/>
              <a:gd name="connsiteX33" fmla="*/ 443293 w 15115867"/>
              <a:gd name="connsiteY33" fmla="*/ 213125 h 1023226"/>
              <a:gd name="connsiteX34" fmla="*/ 316421 w 15115867"/>
              <a:gd name="connsiteY34" fmla="*/ 213125 h 1023226"/>
              <a:gd name="connsiteX35" fmla="*/ 265843 w 15115867"/>
              <a:gd name="connsiteY35" fmla="*/ 126733 h 1023226"/>
              <a:gd name="connsiteX36" fmla="*/ 159639 w 15115867"/>
              <a:gd name="connsiteY36" fmla="*/ 126733 h 1023226"/>
              <a:gd name="connsiteX37" fmla="*/ 71914 w 15115867"/>
              <a:gd name="connsiteY37" fmla="*/ 285134 h 1023226"/>
              <a:gd name="connsiteX38" fmla="*/ 71914 w 15115867"/>
              <a:gd name="connsiteY38" fmla="*/ 371430 h 1023226"/>
              <a:gd name="connsiteX39" fmla="*/ 121825 w 15115867"/>
              <a:gd name="connsiteY39" fmla="*/ 452869 h 1023226"/>
              <a:gd name="connsiteX40" fmla="*/ 160687 w 15115867"/>
              <a:gd name="connsiteY40" fmla="*/ 452869 h 1023226"/>
              <a:gd name="connsiteX41" fmla="*/ 173260 w 15115867"/>
              <a:gd name="connsiteY41" fmla="*/ 430009 h 1023226"/>
              <a:gd name="connsiteX42" fmla="*/ 416433 w 15115867"/>
              <a:gd name="connsiteY42" fmla="*/ 430009 h 1023226"/>
              <a:gd name="connsiteX43" fmla="*/ 465392 w 15115867"/>
              <a:gd name="connsiteY43" fmla="*/ 515353 h 1023226"/>
              <a:gd name="connsiteX44" fmla="*/ 465392 w 15115867"/>
              <a:gd name="connsiteY44" fmla="*/ 616413 h 1023226"/>
              <a:gd name="connsiteX45" fmla="*/ 500443 w 15115867"/>
              <a:gd name="connsiteY45" fmla="*/ 676516 h 1023226"/>
              <a:gd name="connsiteX46" fmla="*/ 500443 w 15115867"/>
              <a:gd name="connsiteY46" fmla="*/ 737952 h 1023226"/>
              <a:gd name="connsiteX47" fmla="*/ 563309 w 15115867"/>
              <a:gd name="connsiteY47" fmla="*/ 843204 h 1023226"/>
              <a:gd name="connsiteX48" fmla="*/ 563309 w 15115867"/>
              <a:gd name="connsiteY48" fmla="*/ 907021 h 1023226"/>
              <a:gd name="connsiteX49" fmla="*/ 594932 w 15115867"/>
              <a:gd name="connsiteY49" fmla="*/ 948169 h 1023226"/>
              <a:gd name="connsiteX50" fmla="*/ 609124 w 15115867"/>
              <a:gd name="connsiteY50" fmla="*/ 948169 h 1023226"/>
              <a:gd name="connsiteX51" fmla="*/ 628460 w 15115867"/>
              <a:gd name="connsiteY51" fmla="*/ 916165 h 1023226"/>
              <a:gd name="connsiteX52" fmla="*/ 628460 w 15115867"/>
              <a:gd name="connsiteY52" fmla="*/ 869969 h 1023226"/>
              <a:gd name="connsiteX53" fmla="*/ 717899 w 15115867"/>
              <a:gd name="connsiteY53" fmla="*/ 726903 h 1023226"/>
              <a:gd name="connsiteX54" fmla="*/ 718566 w 15115867"/>
              <a:gd name="connsiteY54" fmla="*/ 615842 h 1023226"/>
              <a:gd name="connsiteX55" fmla="*/ 790956 w 15115867"/>
              <a:gd name="connsiteY55" fmla="*/ 507733 h 1023226"/>
              <a:gd name="connsiteX56" fmla="*/ 843725 w 15115867"/>
              <a:gd name="connsiteY56" fmla="*/ 507447 h 1023226"/>
              <a:gd name="connsiteX57" fmla="*/ 861060 w 15115867"/>
              <a:gd name="connsiteY57" fmla="*/ 479634 h 1023226"/>
              <a:gd name="connsiteX58" fmla="*/ 767239 w 15115867"/>
              <a:gd name="connsiteY58" fmla="*/ 479634 h 1023226"/>
              <a:gd name="connsiteX59" fmla="*/ 691229 w 15115867"/>
              <a:gd name="connsiteY59" fmla="*/ 351047 h 1023226"/>
              <a:gd name="connsiteX60" fmla="*/ 689229 w 15115867"/>
              <a:gd name="connsiteY60" fmla="*/ 270084 h 1023226"/>
              <a:gd name="connsiteX61" fmla="*/ 640271 w 15115867"/>
              <a:gd name="connsiteY61" fmla="*/ 204076 h 1023226"/>
              <a:gd name="connsiteX62" fmla="*/ 532352 w 15115867"/>
              <a:gd name="connsiteY62" fmla="*/ 203124 h 1023226"/>
              <a:gd name="connsiteX63" fmla="*/ 483108 w 15115867"/>
              <a:gd name="connsiteY63" fmla="*/ 288087 h 1023226"/>
              <a:gd name="connsiteX64" fmla="*/ 271082 w 15115867"/>
              <a:gd name="connsiteY64" fmla="*/ 288087 h 1023226"/>
              <a:gd name="connsiteX65" fmla="*/ 227743 w 15115867"/>
              <a:gd name="connsiteY65" fmla="*/ 216459 h 1023226"/>
              <a:gd name="connsiteX66" fmla="*/ 200216 w 15115867"/>
              <a:gd name="connsiteY66" fmla="*/ 216459 h 1023226"/>
              <a:gd name="connsiteX67" fmla="*/ 152019 w 15115867"/>
              <a:gd name="connsiteY67" fmla="*/ 307803 h 1023226"/>
              <a:gd name="connsiteX68" fmla="*/ 150781 w 15115867"/>
              <a:gd name="connsiteY68" fmla="*/ 358667 h 1023226"/>
              <a:gd name="connsiteX69" fmla="*/ 153638 w 15115867"/>
              <a:gd name="connsiteY69" fmla="*/ 363239 h 1023226"/>
              <a:gd name="connsiteX70" fmla="*/ 157353 w 15115867"/>
              <a:gd name="connsiteY70" fmla="*/ 363144 h 1023226"/>
              <a:gd name="connsiteX71" fmla="*/ 161068 w 15115867"/>
              <a:gd name="connsiteY71" fmla="*/ 358667 h 1023226"/>
              <a:gd name="connsiteX72" fmla="*/ 525304 w 15115867"/>
              <a:gd name="connsiteY72" fmla="*/ 358857 h 1023226"/>
              <a:gd name="connsiteX73" fmla="*/ 578739 w 15115867"/>
              <a:gd name="connsiteY73" fmla="*/ 273418 h 1023226"/>
              <a:gd name="connsiteX74" fmla="*/ 607314 w 15115867"/>
              <a:gd name="connsiteY74" fmla="*/ 273418 h 1023226"/>
              <a:gd name="connsiteX75" fmla="*/ 629317 w 15115867"/>
              <a:gd name="connsiteY75" fmla="*/ 302374 h 1023226"/>
              <a:gd name="connsiteX76" fmla="*/ 629317 w 15115867"/>
              <a:gd name="connsiteY76" fmla="*/ 382003 h 1023226"/>
              <a:gd name="connsiteX77" fmla="*/ 704945 w 15115867"/>
              <a:gd name="connsiteY77" fmla="*/ 508971 h 1023226"/>
              <a:gd name="connsiteX78" fmla="*/ 648938 w 15115867"/>
              <a:gd name="connsiteY78" fmla="*/ 593077 h 1023226"/>
              <a:gd name="connsiteX79" fmla="*/ 647510 w 15115867"/>
              <a:gd name="connsiteY79" fmla="*/ 710235 h 1023226"/>
              <a:gd name="connsiteX80" fmla="*/ 603409 w 15115867"/>
              <a:gd name="connsiteY80" fmla="*/ 776529 h 1023226"/>
              <a:gd name="connsiteX81" fmla="*/ 563404 w 15115867"/>
              <a:gd name="connsiteY81" fmla="*/ 709377 h 1023226"/>
              <a:gd name="connsiteX82" fmla="*/ 563404 w 15115867"/>
              <a:gd name="connsiteY82" fmla="*/ 638321 h 1023226"/>
              <a:gd name="connsiteX83" fmla="*/ 537496 w 15115867"/>
              <a:gd name="connsiteY83" fmla="*/ 595935 h 1023226"/>
              <a:gd name="connsiteX84" fmla="*/ 537496 w 15115867"/>
              <a:gd name="connsiteY84" fmla="*/ 496398 h 1023226"/>
              <a:gd name="connsiteX85" fmla="*/ 498824 w 15115867"/>
              <a:gd name="connsiteY85" fmla="*/ 428676 h 1023226"/>
              <a:gd name="connsiteX86" fmla="*/ 581120 w 15115867"/>
              <a:gd name="connsiteY86" fmla="*/ 428676 h 1023226"/>
              <a:gd name="connsiteX87" fmla="*/ 627698 w 15115867"/>
              <a:gd name="connsiteY87" fmla="*/ 503256 h 1023226"/>
              <a:gd name="connsiteX88" fmla="*/ 592550 w 15115867"/>
              <a:gd name="connsiteY88" fmla="*/ 556406 h 1023226"/>
              <a:gd name="connsiteX0" fmla="*/ 15083451 w 15083451"/>
              <a:gd name="connsiteY0" fmla="*/ 5158 h 963549"/>
              <a:gd name="connsiteX1" fmla="*/ 439579 w 15083451"/>
              <a:gd name="connsiteY1" fmla="*/ 0 h 963549"/>
              <a:gd name="connsiteX2" fmla="*/ 399955 w 15083451"/>
              <a:gd name="connsiteY2" fmla="*/ 72009 h 963549"/>
              <a:gd name="connsiteX3" fmla="*/ 351377 w 15083451"/>
              <a:gd name="connsiteY3" fmla="*/ 72390 h 963549"/>
              <a:gd name="connsiteX4" fmla="*/ 307467 w 15083451"/>
              <a:gd name="connsiteY4" fmla="*/ 0 h 963549"/>
              <a:gd name="connsiteX5" fmla="*/ 118967 w 15083451"/>
              <a:gd name="connsiteY5" fmla="*/ 0 h 963549"/>
              <a:gd name="connsiteX6" fmla="*/ 0 w 15083451"/>
              <a:gd name="connsiteY6" fmla="*/ 199739 h 963549"/>
              <a:gd name="connsiteX7" fmla="*/ 0 w 15083451"/>
              <a:gd name="connsiteY7" fmla="*/ 342138 h 963549"/>
              <a:gd name="connsiteX8" fmla="*/ 78296 w 15083451"/>
              <a:gd name="connsiteY8" fmla="*/ 463772 h 963549"/>
              <a:gd name="connsiteX9" fmla="*/ 204216 w 15083451"/>
              <a:gd name="connsiteY9" fmla="*/ 463772 h 963549"/>
              <a:gd name="connsiteX10" fmla="*/ 219647 w 15083451"/>
              <a:gd name="connsiteY10" fmla="*/ 437007 h 963549"/>
              <a:gd name="connsiteX11" fmla="*/ 381000 w 15083451"/>
              <a:gd name="connsiteY11" fmla="*/ 437007 h 963549"/>
              <a:gd name="connsiteX12" fmla="*/ 399288 w 15083451"/>
              <a:gd name="connsiteY12" fmla="*/ 469773 h 963549"/>
              <a:gd name="connsiteX13" fmla="*/ 399288 w 15083451"/>
              <a:gd name="connsiteY13" fmla="*/ 568071 h 963549"/>
              <a:gd name="connsiteX14" fmla="*/ 434245 w 15083451"/>
              <a:gd name="connsiteY14" fmla="*/ 628841 h 963549"/>
              <a:gd name="connsiteX15" fmla="*/ 434054 w 15083451"/>
              <a:gd name="connsiteY15" fmla="*/ 693325 h 963549"/>
              <a:gd name="connsiteX16" fmla="*/ 492728 w 15083451"/>
              <a:gd name="connsiteY16" fmla="*/ 800005 h 963549"/>
              <a:gd name="connsiteX17" fmla="*/ 492728 w 15083451"/>
              <a:gd name="connsiteY17" fmla="*/ 884873 h 963549"/>
              <a:gd name="connsiteX18" fmla="*/ 559118 w 15083451"/>
              <a:gd name="connsiteY18" fmla="*/ 962978 h 963549"/>
              <a:gd name="connsiteX19" fmla="*/ 645414 w 15083451"/>
              <a:gd name="connsiteY19" fmla="*/ 963549 h 963549"/>
              <a:gd name="connsiteX20" fmla="*/ 688372 w 15083451"/>
              <a:gd name="connsiteY20" fmla="*/ 892112 h 963549"/>
              <a:gd name="connsiteX21" fmla="*/ 688372 w 15083451"/>
              <a:gd name="connsiteY21" fmla="*/ 837914 h 963549"/>
              <a:gd name="connsiteX22" fmla="*/ 784479 w 15083451"/>
              <a:gd name="connsiteY22" fmla="*/ 687229 h 963549"/>
              <a:gd name="connsiteX23" fmla="*/ 784479 w 15083451"/>
              <a:gd name="connsiteY23" fmla="*/ 586169 h 963549"/>
              <a:gd name="connsiteX24" fmla="*/ 831152 w 15083451"/>
              <a:gd name="connsiteY24" fmla="*/ 512636 h 963549"/>
              <a:gd name="connsiteX25" fmla="*/ 886968 w 15083451"/>
              <a:gd name="connsiteY25" fmla="*/ 513207 h 963549"/>
              <a:gd name="connsiteX26" fmla="*/ 979075 w 15083451"/>
              <a:gd name="connsiteY26" fmla="*/ 352139 h 963549"/>
              <a:gd name="connsiteX27" fmla="*/ 809530 w 15083451"/>
              <a:gd name="connsiteY27" fmla="*/ 352139 h 963549"/>
              <a:gd name="connsiteX28" fmla="*/ 761333 w 15083451"/>
              <a:gd name="connsiteY28" fmla="*/ 269367 h 963549"/>
              <a:gd name="connsiteX29" fmla="*/ 761429 w 15083451"/>
              <a:gd name="connsiteY29" fmla="*/ 189357 h 963549"/>
              <a:gd name="connsiteX30" fmla="*/ 681419 w 15083451"/>
              <a:gd name="connsiteY30" fmla="*/ 77438 h 963549"/>
              <a:gd name="connsiteX31" fmla="*/ 655511 w 15083451"/>
              <a:gd name="connsiteY31" fmla="*/ 77438 h 963549"/>
              <a:gd name="connsiteX32" fmla="*/ 487299 w 15083451"/>
              <a:gd name="connsiteY32" fmla="*/ 77438 h 963549"/>
              <a:gd name="connsiteX33" fmla="*/ 443293 w 15083451"/>
              <a:gd name="connsiteY33" fmla="*/ 153448 h 963549"/>
              <a:gd name="connsiteX34" fmla="*/ 316421 w 15083451"/>
              <a:gd name="connsiteY34" fmla="*/ 153448 h 963549"/>
              <a:gd name="connsiteX35" fmla="*/ 265843 w 15083451"/>
              <a:gd name="connsiteY35" fmla="*/ 67056 h 963549"/>
              <a:gd name="connsiteX36" fmla="*/ 159639 w 15083451"/>
              <a:gd name="connsiteY36" fmla="*/ 67056 h 963549"/>
              <a:gd name="connsiteX37" fmla="*/ 71914 w 15083451"/>
              <a:gd name="connsiteY37" fmla="*/ 225457 h 963549"/>
              <a:gd name="connsiteX38" fmla="*/ 71914 w 15083451"/>
              <a:gd name="connsiteY38" fmla="*/ 311753 h 963549"/>
              <a:gd name="connsiteX39" fmla="*/ 121825 w 15083451"/>
              <a:gd name="connsiteY39" fmla="*/ 393192 h 963549"/>
              <a:gd name="connsiteX40" fmla="*/ 160687 w 15083451"/>
              <a:gd name="connsiteY40" fmla="*/ 393192 h 963549"/>
              <a:gd name="connsiteX41" fmla="*/ 173260 w 15083451"/>
              <a:gd name="connsiteY41" fmla="*/ 370332 h 963549"/>
              <a:gd name="connsiteX42" fmla="*/ 416433 w 15083451"/>
              <a:gd name="connsiteY42" fmla="*/ 370332 h 963549"/>
              <a:gd name="connsiteX43" fmla="*/ 465392 w 15083451"/>
              <a:gd name="connsiteY43" fmla="*/ 455676 h 963549"/>
              <a:gd name="connsiteX44" fmla="*/ 465392 w 15083451"/>
              <a:gd name="connsiteY44" fmla="*/ 556736 h 963549"/>
              <a:gd name="connsiteX45" fmla="*/ 500443 w 15083451"/>
              <a:gd name="connsiteY45" fmla="*/ 616839 h 963549"/>
              <a:gd name="connsiteX46" fmla="*/ 500443 w 15083451"/>
              <a:gd name="connsiteY46" fmla="*/ 678275 h 963549"/>
              <a:gd name="connsiteX47" fmla="*/ 563309 w 15083451"/>
              <a:gd name="connsiteY47" fmla="*/ 783527 h 963549"/>
              <a:gd name="connsiteX48" fmla="*/ 563309 w 15083451"/>
              <a:gd name="connsiteY48" fmla="*/ 847344 h 963549"/>
              <a:gd name="connsiteX49" fmla="*/ 594932 w 15083451"/>
              <a:gd name="connsiteY49" fmla="*/ 888492 h 963549"/>
              <a:gd name="connsiteX50" fmla="*/ 609124 w 15083451"/>
              <a:gd name="connsiteY50" fmla="*/ 888492 h 963549"/>
              <a:gd name="connsiteX51" fmla="*/ 628460 w 15083451"/>
              <a:gd name="connsiteY51" fmla="*/ 856488 h 963549"/>
              <a:gd name="connsiteX52" fmla="*/ 628460 w 15083451"/>
              <a:gd name="connsiteY52" fmla="*/ 810292 h 963549"/>
              <a:gd name="connsiteX53" fmla="*/ 717899 w 15083451"/>
              <a:gd name="connsiteY53" fmla="*/ 667226 h 963549"/>
              <a:gd name="connsiteX54" fmla="*/ 718566 w 15083451"/>
              <a:gd name="connsiteY54" fmla="*/ 556165 h 963549"/>
              <a:gd name="connsiteX55" fmla="*/ 790956 w 15083451"/>
              <a:gd name="connsiteY55" fmla="*/ 448056 h 963549"/>
              <a:gd name="connsiteX56" fmla="*/ 843725 w 15083451"/>
              <a:gd name="connsiteY56" fmla="*/ 447770 h 963549"/>
              <a:gd name="connsiteX57" fmla="*/ 861060 w 15083451"/>
              <a:gd name="connsiteY57" fmla="*/ 419957 h 963549"/>
              <a:gd name="connsiteX58" fmla="*/ 767239 w 15083451"/>
              <a:gd name="connsiteY58" fmla="*/ 419957 h 963549"/>
              <a:gd name="connsiteX59" fmla="*/ 691229 w 15083451"/>
              <a:gd name="connsiteY59" fmla="*/ 291370 h 963549"/>
              <a:gd name="connsiteX60" fmla="*/ 689229 w 15083451"/>
              <a:gd name="connsiteY60" fmla="*/ 210407 h 963549"/>
              <a:gd name="connsiteX61" fmla="*/ 640271 w 15083451"/>
              <a:gd name="connsiteY61" fmla="*/ 144399 h 963549"/>
              <a:gd name="connsiteX62" fmla="*/ 532352 w 15083451"/>
              <a:gd name="connsiteY62" fmla="*/ 143447 h 963549"/>
              <a:gd name="connsiteX63" fmla="*/ 483108 w 15083451"/>
              <a:gd name="connsiteY63" fmla="*/ 228410 h 963549"/>
              <a:gd name="connsiteX64" fmla="*/ 271082 w 15083451"/>
              <a:gd name="connsiteY64" fmla="*/ 228410 h 963549"/>
              <a:gd name="connsiteX65" fmla="*/ 227743 w 15083451"/>
              <a:gd name="connsiteY65" fmla="*/ 156782 h 963549"/>
              <a:gd name="connsiteX66" fmla="*/ 200216 w 15083451"/>
              <a:gd name="connsiteY66" fmla="*/ 156782 h 963549"/>
              <a:gd name="connsiteX67" fmla="*/ 152019 w 15083451"/>
              <a:gd name="connsiteY67" fmla="*/ 248126 h 963549"/>
              <a:gd name="connsiteX68" fmla="*/ 150781 w 15083451"/>
              <a:gd name="connsiteY68" fmla="*/ 298990 h 963549"/>
              <a:gd name="connsiteX69" fmla="*/ 153638 w 15083451"/>
              <a:gd name="connsiteY69" fmla="*/ 303562 h 963549"/>
              <a:gd name="connsiteX70" fmla="*/ 157353 w 15083451"/>
              <a:gd name="connsiteY70" fmla="*/ 303467 h 963549"/>
              <a:gd name="connsiteX71" fmla="*/ 161068 w 15083451"/>
              <a:gd name="connsiteY71" fmla="*/ 298990 h 963549"/>
              <a:gd name="connsiteX72" fmla="*/ 525304 w 15083451"/>
              <a:gd name="connsiteY72" fmla="*/ 299180 h 963549"/>
              <a:gd name="connsiteX73" fmla="*/ 578739 w 15083451"/>
              <a:gd name="connsiteY73" fmla="*/ 213741 h 963549"/>
              <a:gd name="connsiteX74" fmla="*/ 607314 w 15083451"/>
              <a:gd name="connsiteY74" fmla="*/ 213741 h 963549"/>
              <a:gd name="connsiteX75" fmla="*/ 629317 w 15083451"/>
              <a:gd name="connsiteY75" fmla="*/ 242697 h 963549"/>
              <a:gd name="connsiteX76" fmla="*/ 629317 w 15083451"/>
              <a:gd name="connsiteY76" fmla="*/ 322326 h 963549"/>
              <a:gd name="connsiteX77" fmla="*/ 704945 w 15083451"/>
              <a:gd name="connsiteY77" fmla="*/ 449294 h 963549"/>
              <a:gd name="connsiteX78" fmla="*/ 648938 w 15083451"/>
              <a:gd name="connsiteY78" fmla="*/ 533400 h 963549"/>
              <a:gd name="connsiteX79" fmla="*/ 647510 w 15083451"/>
              <a:gd name="connsiteY79" fmla="*/ 650558 h 963549"/>
              <a:gd name="connsiteX80" fmla="*/ 603409 w 15083451"/>
              <a:gd name="connsiteY80" fmla="*/ 716852 h 963549"/>
              <a:gd name="connsiteX81" fmla="*/ 563404 w 15083451"/>
              <a:gd name="connsiteY81" fmla="*/ 649700 h 963549"/>
              <a:gd name="connsiteX82" fmla="*/ 563404 w 15083451"/>
              <a:gd name="connsiteY82" fmla="*/ 578644 h 963549"/>
              <a:gd name="connsiteX83" fmla="*/ 537496 w 15083451"/>
              <a:gd name="connsiteY83" fmla="*/ 536258 h 963549"/>
              <a:gd name="connsiteX84" fmla="*/ 537496 w 15083451"/>
              <a:gd name="connsiteY84" fmla="*/ 436721 h 963549"/>
              <a:gd name="connsiteX85" fmla="*/ 498824 w 15083451"/>
              <a:gd name="connsiteY85" fmla="*/ 368999 h 963549"/>
              <a:gd name="connsiteX86" fmla="*/ 581120 w 15083451"/>
              <a:gd name="connsiteY86" fmla="*/ 368999 h 963549"/>
              <a:gd name="connsiteX87" fmla="*/ 627698 w 15083451"/>
              <a:gd name="connsiteY87" fmla="*/ 443579 h 963549"/>
              <a:gd name="connsiteX88" fmla="*/ 592550 w 15083451"/>
              <a:gd name="connsiteY88" fmla="*/ 496729 h 963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15083451" h="963549">
                <a:moveTo>
                  <a:pt x="15083451" y="5158"/>
                </a:moveTo>
                <a:lnTo>
                  <a:pt x="439579" y="0"/>
                </a:lnTo>
                <a:lnTo>
                  <a:pt x="399955" y="72009"/>
                </a:lnTo>
                <a:lnTo>
                  <a:pt x="351377" y="72390"/>
                </a:lnTo>
                <a:lnTo>
                  <a:pt x="307467" y="0"/>
                </a:lnTo>
                <a:lnTo>
                  <a:pt x="118967" y="0"/>
                </a:lnTo>
                <a:lnTo>
                  <a:pt x="0" y="199739"/>
                </a:lnTo>
                <a:lnTo>
                  <a:pt x="0" y="342138"/>
                </a:lnTo>
                <a:lnTo>
                  <a:pt x="78296" y="463772"/>
                </a:lnTo>
                <a:lnTo>
                  <a:pt x="204216" y="463772"/>
                </a:lnTo>
                <a:lnTo>
                  <a:pt x="219647" y="437007"/>
                </a:lnTo>
                <a:lnTo>
                  <a:pt x="381000" y="437007"/>
                </a:lnTo>
                <a:lnTo>
                  <a:pt x="399288" y="469773"/>
                </a:lnTo>
                <a:lnTo>
                  <a:pt x="399288" y="568071"/>
                </a:lnTo>
                <a:lnTo>
                  <a:pt x="434245" y="628841"/>
                </a:lnTo>
                <a:cubicBezTo>
                  <a:pt x="434181" y="650336"/>
                  <a:pt x="434118" y="671830"/>
                  <a:pt x="434054" y="693325"/>
                </a:cubicBezTo>
                <a:lnTo>
                  <a:pt x="492728" y="800005"/>
                </a:lnTo>
                <a:lnTo>
                  <a:pt x="492728" y="884873"/>
                </a:lnTo>
                <a:lnTo>
                  <a:pt x="559118" y="962978"/>
                </a:lnTo>
                <a:lnTo>
                  <a:pt x="645414" y="963549"/>
                </a:lnTo>
                <a:lnTo>
                  <a:pt x="688372" y="892112"/>
                </a:lnTo>
                <a:lnTo>
                  <a:pt x="688372" y="837914"/>
                </a:lnTo>
                <a:lnTo>
                  <a:pt x="784479" y="687229"/>
                </a:lnTo>
                <a:lnTo>
                  <a:pt x="784479" y="586169"/>
                </a:lnTo>
                <a:lnTo>
                  <a:pt x="831152" y="512636"/>
                </a:lnTo>
                <a:lnTo>
                  <a:pt x="886968" y="513207"/>
                </a:lnTo>
                <a:lnTo>
                  <a:pt x="979075" y="352139"/>
                </a:lnTo>
                <a:lnTo>
                  <a:pt x="809530" y="352139"/>
                </a:lnTo>
                <a:lnTo>
                  <a:pt x="761333" y="269367"/>
                </a:lnTo>
                <a:lnTo>
                  <a:pt x="761429" y="189357"/>
                </a:lnTo>
                <a:lnTo>
                  <a:pt x="681419" y="77438"/>
                </a:lnTo>
                <a:lnTo>
                  <a:pt x="655511" y="77438"/>
                </a:lnTo>
                <a:lnTo>
                  <a:pt x="487299" y="77438"/>
                </a:lnTo>
                <a:lnTo>
                  <a:pt x="443293" y="153448"/>
                </a:lnTo>
                <a:lnTo>
                  <a:pt x="316421" y="153448"/>
                </a:lnTo>
                <a:lnTo>
                  <a:pt x="265843" y="67056"/>
                </a:lnTo>
                <a:lnTo>
                  <a:pt x="159639" y="67056"/>
                </a:lnTo>
                <a:lnTo>
                  <a:pt x="71914" y="225457"/>
                </a:lnTo>
                <a:lnTo>
                  <a:pt x="71914" y="311753"/>
                </a:lnTo>
                <a:lnTo>
                  <a:pt x="121825" y="393192"/>
                </a:lnTo>
                <a:lnTo>
                  <a:pt x="160687" y="393192"/>
                </a:lnTo>
                <a:lnTo>
                  <a:pt x="173260" y="370332"/>
                </a:lnTo>
                <a:lnTo>
                  <a:pt x="416433" y="370332"/>
                </a:lnTo>
                <a:lnTo>
                  <a:pt x="465392" y="455676"/>
                </a:lnTo>
                <a:lnTo>
                  <a:pt x="465392" y="556736"/>
                </a:lnTo>
                <a:lnTo>
                  <a:pt x="500443" y="616839"/>
                </a:lnTo>
                <a:lnTo>
                  <a:pt x="500443" y="678275"/>
                </a:lnTo>
                <a:lnTo>
                  <a:pt x="563309" y="783527"/>
                </a:lnTo>
                <a:lnTo>
                  <a:pt x="563309" y="847344"/>
                </a:lnTo>
                <a:lnTo>
                  <a:pt x="594932" y="888492"/>
                </a:lnTo>
                <a:lnTo>
                  <a:pt x="609124" y="888492"/>
                </a:lnTo>
                <a:lnTo>
                  <a:pt x="628460" y="856488"/>
                </a:lnTo>
                <a:lnTo>
                  <a:pt x="628460" y="810292"/>
                </a:lnTo>
                <a:lnTo>
                  <a:pt x="717899" y="667226"/>
                </a:lnTo>
                <a:cubicBezTo>
                  <a:pt x="718121" y="630206"/>
                  <a:pt x="718344" y="593185"/>
                  <a:pt x="718566" y="556165"/>
                </a:cubicBezTo>
                <a:lnTo>
                  <a:pt x="790956" y="448056"/>
                </a:lnTo>
                <a:lnTo>
                  <a:pt x="843725" y="447770"/>
                </a:lnTo>
                <a:lnTo>
                  <a:pt x="861060" y="419957"/>
                </a:lnTo>
                <a:lnTo>
                  <a:pt x="767239" y="419957"/>
                </a:lnTo>
                <a:lnTo>
                  <a:pt x="691229" y="291370"/>
                </a:lnTo>
                <a:cubicBezTo>
                  <a:pt x="690562" y="264382"/>
                  <a:pt x="689896" y="237395"/>
                  <a:pt x="689229" y="210407"/>
                </a:cubicBezTo>
                <a:lnTo>
                  <a:pt x="640271" y="144399"/>
                </a:lnTo>
                <a:lnTo>
                  <a:pt x="532352" y="143447"/>
                </a:lnTo>
                <a:lnTo>
                  <a:pt x="483108" y="228410"/>
                </a:lnTo>
                <a:lnTo>
                  <a:pt x="271082" y="228410"/>
                </a:lnTo>
                <a:lnTo>
                  <a:pt x="227743" y="156782"/>
                </a:lnTo>
                <a:lnTo>
                  <a:pt x="200216" y="156782"/>
                </a:lnTo>
                <a:lnTo>
                  <a:pt x="152019" y="248126"/>
                </a:lnTo>
                <a:cubicBezTo>
                  <a:pt x="151606" y="265081"/>
                  <a:pt x="151194" y="282035"/>
                  <a:pt x="150781" y="298990"/>
                </a:cubicBezTo>
                <a:lnTo>
                  <a:pt x="153638" y="303562"/>
                </a:lnTo>
                <a:lnTo>
                  <a:pt x="157353" y="303467"/>
                </a:lnTo>
                <a:lnTo>
                  <a:pt x="161068" y="298990"/>
                </a:lnTo>
                <a:lnTo>
                  <a:pt x="525304" y="299180"/>
                </a:lnTo>
                <a:lnTo>
                  <a:pt x="578739" y="213741"/>
                </a:lnTo>
                <a:lnTo>
                  <a:pt x="607314" y="213741"/>
                </a:lnTo>
                <a:lnTo>
                  <a:pt x="629317" y="242697"/>
                </a:lnTo>
                <a:lnTo>
                  <a:pt x="629317" y="322326"/>
                </a:lnTo>
                <a:lnTo>
                  <a:pt x="704945" y="449294"/>
                </a:lnTo>
                <a:lnTo>
                  <a:pt x="648938" y="533400"/>
                </a:lnTo>
                <a:lnTo>
                  <a:pt x="647510" y="650558"/>
                </a:lnTo>
                <a:lnTo>
                  <a:pt x="603409" y="716852"/>
                </a:lnTo>
                <a:lnTo>
                  <a:pt x="563404" y="649700"/>
                </a:lnTo>
                <a:lnTo>
                  <a:pt x="563404" y="578644"/>
                </a:lnTo>
                <a:lnTo>
                  <a:pt x="537496" y="536258"/>
                </a:lnTo>
                <a:lnTo>
                  <a:pt x="537496" y="436721"/>
                </a:lnTo>
                <a:lnTo>
                  <a:pt x="498824" y="368999"/>
                </a:lnTo>
                <a:lnTo>
                  <a:pt x="581120" y="368999"/>
                </a:lnTo>
                <a:lnTo>
                  <a:pt x="627698" y="443579"/>
                </a:lnTo>
                <a:lnTo>
                  <a:pt x="592550" y="496729"/>
                </a:lnTo>
              </a:path>
            </a:pathLst>
          </a:custGeom>
          <a:noFill/>
          <a:ln w="7144" cap="flat">
            <a:solidFill>
              <a:srgbClr val="E63C2B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40B27B1-9BEE-85F0-5F8D-2FE6D5DDD203}"/>
              </a:ext>
            </a:extLst>
          </p:cNvPr>
          <p:cNvSpPr/>
          <p:nvPr userDrawn="1"/>
        </p:nvSpPr>
        <p:spPr>
          <a:xfrm>
            <a:off x="501343" y="857543"/>
            <a:ext cx="432048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A1B3B9E-600F-FC15-707B-431B65AD49C7}"/>
              </a:ext>
            </a:extLst>
          </p:cNvPr>
          <p:cNvSpPr/>
          <p:nvPr userDrawn="1"/>
        </p:nvSpPr>
        <p:spPr>
          <a:xfrm>
            <a:off x="380693" y="914693"/>
            <a:ext cx="432048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D1B1B81-36CD-9D78-49C8-71B7E7E54A6F}"/>
              </a:ext>
            </a:extLst>
          </p:cNvPr>
          <p:cNvSpPr/>
          <p:nvPr userDrawn="1"/>
        </p:nvSpPr>
        <p:spPr>
          <a:xfrm>
            <a:off x="69295" y="867068"/>
            <a:ext cx="362505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923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342909-EEA3-22BC-20EC-DD8352F176C2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6798" y="260004"/>
            <a:ext cx="1428987" cy="97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417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  <p:sldLayoutId id="2147483873" r:id="rId16"/>
    <p:sldLayoutId id="2147483874" r:id="rId17"/>
    <p:sldLayoutId id="2147483875" r:id="rId18"/>
    <p:sldLayoutId id="2147483876" r:id="rId19"/>
    <p:sldLayoutId id="2147483877" r:id="rId20"/>
    <p:sldLayoutId id="2147483878" r:id="rId21"/>
    <p:sldLayoutId id="2147483879" r:id="rId22"/>
    <p:sldLayoutId id="2147483880" r:id="rId23"/>
    <p:sldLayoutId id="2147483881" r:id="rId24"/>
    <p:sldLayoutId id="2147483882" r:id="rId25"/>
    <p:sldLayoutId id="2147483883" r:id="rId26"/>
    <p:sldLayoutId id="2147483884" r:id="rId27"/>
    <p:sldLayoutId id="2147483885" r:id="rId28"/>
    <p:sldLayoutId id="2147483886" r:id="rId29"/>
    <p:sldLayoutId id="2147483887" r:id="rId30"/>
    <p:sldLayoutId id="2147483888" r:id="rId31"/>
  </p:sldLayoutIdLst>
  <p:hf hdr="0" ftr="0" dt="0"/>
  <p:txStyles>
    <p:titleStyle>
      <a:lvl1pPr algn="l" defTabSz="779173" rtl="0" eaLnBrk="1" latinLnBrk="0" hangingPunct="1">
        <a:spcBef>
          <a:spcPct val="0"/>
        </a:spcBef>
        <a:buNone/>
        <a:defRPr sz="2800" b="1" i="0" kern="1200" cap="none" spc="0" baseline="0">
          <a:solidFill>
            <a:schemeClr val="tx1"/>
          </a:solidFill>
          <a:latin typeface="Apex New Bold" panose="02010600040501010103" pitchFamily="2" charset="77"/>
          <a:ea typeface="Apex New Bold" panose="02010600040501010103" pitchFamily="2" charset="77"/>
          <a:cs typeface="+mj-cs"/>
        </a:defRPr>
      </a:lvl1pPr>
    </p:titleStyle>
    <p:bodyStyle>
      <a:lvl1pPr marL="0" indent="0" algn="l" defTabSz="779173" rtl="0" eaLnBrk="1" latinLnBrk="0" hangingPunct="1">
        <a:lnSpc>
          <a:spcPct val="110000"/>
        </a:lnSpc>
        <a:spcBef>
          <a:spcPts val="1023"/>
        </a:spcBef>
        <a:spcAft>
          <a:spcPts val="341"/>
        </a:spcAft>
        <a:buFont typeface="Arial" pitchFamily="34" charset="0"/>
        <a:buNone/>
        <a:defRPr sz="20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228612" indent="-142037" algn="l" defTabSz="779173" rtl="0" eaLnBrk="1" latinLnBrk="0" hangingPunct="1">
        <a:lnSpc>
          <a:spcPct val="110000"/>
        </a:lnSpc>
        <a:spcBef>
          <a:spcPts val="171"/>
        </a:spcBef>
        <a:spcAft>
          <a:spcPts val="171"/>
        </a:spcAft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531623" indent="-160976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›"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764293" indent="-155565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–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1078126" indent="-156917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»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142725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312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98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84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6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73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9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45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32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18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104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91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0">
          <p15:clr>
            <a:srgbClr val="F26B43"/>
          </p15:clr>
        </p15:guide>
        <p15:guide id="4" orient="horz" pos="4156">
          <p15:clr>
            <a:srgbClr val="F26B43"/>
          </p15:clr>
        </p15:guide>
        <p15:guide id="5" orient="horz" pos="2432">
          <p15:clr>
            <a:srgbClr val="F26B43"/>
          </p15:clr>
        </p15:guide>
        <p15:guide id="7" orient="horz" pos="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4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" name="Freeform 540">
            <a:extLst>
              <a:ext uri="{FF2B5EF4-FFF2-40B4-BE49-F238E27FC236}">
                <a16:creationId xmlns:a16="http://schemas.microsoft.com/office/drawing/2014/main" id="{79A2E5CA-46F8-7CDC-E057-63E41A8AD015}"/>
              </a:ext>
            </a:extLst>
          </p:cNvPr>
          <p:cNvSpPr/>
          <p:nvPr/>
        </p:nvSpPr>
        <p:spPr>
          <a:xfrm>
            <a:off x="-4502" y="-22475"/>
            <a:ext cx="12196437" cy="6880475"/>
          </a:xfrm>
          <a:custGeom>
            <a:avLst/>
            <a:gdLst>
              <a:gd name="connsiteX0" fmla="*/ 1322551 w 12196437"/>
              <a:gd name="connsiteY0" fmla="*/ 917119 h 6880475"/>
              <a:gd name="connsiteX1" fmla="*/ 642578 w 12196437"/>
              <a:gd name="connsiteY1" fmla="*/ 2059126 h 6880475"/>
              <a:gd name="connsiteX2" fmla="*/ 642578 w 12196437"/>
              <a:gd name="connsiteY2" fmla="*/ 2878457 h 6880475"/>
              <a:gd name="connsiteX3" fmla="*/ 1108528 w 12196437"/>
              <a:gd name="connsiteY3" fmla="*/ 3602271 h 6880475"/>
              <a:gd name="connsiteX4" fmla="*/ 1899683 w 12196437"/>
              <a:gd name="connsiteY4" fmla="*/ 3602271 h 6880475"/>
              <a:gd name="connsiteX5" fmla="*/ 1982058 w 12196437"/>
              <a:gd name="connsiteY5" fmla="*/ 3459631 h 6880475"/>
              <a:gd name="connsiteX6" fmla="*/ 2716485 w 12196437"/>
              <a:gd name="connsiteY6" fmla="*/ 3459631 h 6880475"/>
              <a:gd name="connsiteX7" fmla="*/ 2769423 w 12196437"/>
              <a:gd name="connsiteY7" fmla="*/ 3554387 h 6880475"/>
              <a:gd name="connsiteX8" fmla="*/ 2769423 w 12196437"/>
              <a:gd name="connsiteY8" fmla="*/ 4078708 h 6880475"/>
              <a:gd name="connsiteX9" fmla="*/ 2955399 w 12196437"/>
              <a:gd name="connsiteY9" fmla="*/ 4402397 h 6880475"/>
              <a:gd name="connsiteX10" fmla="*/ 2954388 w 12196437"/>
              <a:gd name="connsiteY10" fmla="*/ 4744531 h 6880475"/>
              <a:gd name="connsiteX11" fmla="*/ 3267086 w 12196437"/>
              <a:gd name="connsiteY11" fmla="*/ 5313072 h 6880475"/>
              <a:gd name="connsiteX12" fmla="*/ 3267086 w 12196437"/>
              <a:gd name="connsiteY12" fmla="*/ 5777000 h 6880475"/>
              <a:gd name="connsiteX13" fmla="*/ 3677951 w 12196437"/>
              <a:gd name="connsiteY13" fmla="*/ 6260639 h 6880475"/>
              <a:gd name="connsiteX14" fmla="*/ 4248259 w 12196437"/>
              <a:gd name="connsiteY14" fmla="*/ 6264176 h 6880475"/>
              <a:gd name="connsiteX15" fmla="*/ 4523812 w 12196437"/>
              <a:gd name="connsiteY15" fmla="*/ 5805807 h 6880475"/>
              <a:gd name="connsiteX16" fmla="*/ 4523812 w 12196437"/>
              <a:gd name="connsiteY16" fmla="*/ 5519010 h 6880475"/>
              <a:gd name="connsiteX17" fmla="*/ 5035877 w 12196437"/>
              <a:gd name="connsiteY17" fmla="*/ 4716736 h 6880475"/>
              <a:gd name="connsiteX18" fmla="*/ 5035877 w 12196437"/>
              <a:gd name="connsiteY18" fmla="*/ 4178518 h 6880475"/>
              <a:gd name="connsiteX19" fmla="*/ 5235624 w 12196437"/>
              <a:gd name="connsiteY19" fmla="*/ 3862662 h 6880475"/>
              <a:gd name="connsiteX20" fmla="*/ 5536950 w 12196437"/>
              <a:gd name="connsiteY20" fmla="*/ 3866200 h 6880475"/>
              <a:gd name="connsiteX21" fmla="*/ 6150722 w 12196437"/>
              <a:gd name="connsiteY21" fmla="*/ 2792291 h 6880475"/>
              <a:gd name="connsiteX22" fmla="*/ 5124064 w 12196437"/>
              <a:gd name="connsiteY22" fmla="*/ 2792291 h 6880475"/>
              <a:gd name="connsiteX23" fmla="*/ 4913199 w 12196437"/>
              <a:gd name="connsiteY23" fmla="*/ 2429941 h 6880475"/>
              <a:gd name="connsiteX24" fmla="*/ 4913199 w 12196437"/>
              <a:gd name="connsiteY24" fmla="*/ 1998230 h 6880475"/>
              <a:gd name="connsiteX25" fmla="*/ 4398481 w 12196437"/>
              <a:gd name="connsiteY25" fmla="*/ 1286670 h 6880475"/>
              <a:gd name="connsiteX26" fmla="*/ 3246239 w 12196437"/>
              <a:gd name="connsiteY26" fmla="*/ 1286670 h 6880475"/>
              <a:gd name="connsiteX27" fmla="*/ 3001135 w 12196437"/>
              <a:gd name="connsiteY27" fmla="*/ 1734048 h 6880475"/>
              <a:gd name="connsiteX28" fmla="*/ 2497029 w 12196437"/>
              <a:gd name="connsiteY28" fmla="*/ 1734048 h 6880475"/>
              <a:gd name="connsiteX29" fmla="*/ 2227921 w 12196437"/>
              <a:gd name="connsiteY29" fmla="*/ 1274036 h 6880475"/>
              <a:gd name="connsiteX30" fmla="*/ 1498168 w 12196437"/>
              <a:gd name="connsiteY30" fmla="*/ 1274036 h 6880475"/>
              <a:gd name="connsiteX31" fmla="*/ 985470 w 12196437"/>
              <a:gd name="connsiteY31" fmla="*/ 2182310 h 6880475"/>
              <a:gd name="connsiteX32" fmla="*/ 998104 w 12196437"/>
              <a:gd name="connsiteY32" fmla="*/ 2763485 h 6880475"/>
              <a:gd name="connsiteX33" fmla="*/ 1323436 w 12196437"/>
              <a:gd name="connsiteY33" fmla="*/ 3233478 h 6880475"/>
              <a:gd name="connsiteX34" fmla="*/ 1704231 w 12196437"/>
              <a:gd name="connsiteY34" fmla="*/ 3233478 h 6880475"/>
              <a:gd name="connsiteX35" fmla="*/ 1841439 w 12196437"/>
              <a:gd name="connsiteY35" fmla="*/ 3054072 h 6880475"/>
              <a:gd name="connsiteX36" fmla="*/ 2888059 w 12196437"/>
              <a:gd name="connsiteY36" fmla="*/ 3054072 h 6880475"/>
              <a:gd name="connsiteX37" fmla="*/ 3121791 w 12196437"/>
              <a:gd name="connsiteY37" fmla="*/ 3479213 h 6880475"/>
              <a:gd name="connsiteX38" fmla="*/ 3121791 w 12196437"/>
              <a:gd name="connsiteY38" fmla="*/ 4018947 h 6880475"/>
              <a:gd name="connsiteX39" fmla="*/ 3308400 w 12196437"/>
              <a:gd name="connsiteY39" fmla="*/ 4339225 h 6880475"/>
              <a:gd name="connsiteX40" fmla="*/ 3308400 w 12196437"/>
              <a:gd name="connsiteY40" fmla="*/ 4666958 h 6880475"/>
              <a:gd name="connsiteX41" fmla="*/ 3643332 w 12196437"/>
              <a:gd name="connsiteY41" fmla="*/ 5227159 h 6880475"/>
              <a:gd name="connsiteX42" fmla="*/ 3643332 w 12196437"/>
              <a:gd name="connsiteY42" fmla="*/ 5573716 h 6880475"/>
              <a:gd name="connsiteX43" fmla="*/ 3866074 w 12196437"/>
              <a:gd name="connsiteY43" fmla="*/ 5864303 h 6880475"/>
              <a:gd name="connsiteX44" fmla="*/ 4054577 w 12196437"/>
              <a:gd name="connsiteY44" fmla="*/ 5864303 h 6880475"/>
              <a:gd name="connsiteX45" fmla="*/ 4204672 w 12196437"/>
              <a:gd name="connsiteY45" fmla="*/ 5616293 h 6880475"/>
              <a:gd name="connsiteX46" fmla="*/ 4204672 w 12196437"/>
              <a:gd name="connsiteY46" fmla="*/ 5371063 h 6880475"/>
              <a:gd name="connsiteX47" fmla="*/ 4680603 w 12196437"/>
              <a:gd name="connsiteY47" fmla="*/ 4609724 h 6880475"/>
              <a:gd name="connsiteX48" fmla="*/ 4684646 w 12196437"/>
              <a:gd name="connsiteY48" fmla="*/ 4017179 h 6880475"/>
              <a:gd name="connsiteX49" fmla="*/ 4956281 w 12196437"/>
              <a:gd name="connsiteY49" fmla="*/ 3560957 h 6880475"/>
              <a:gd name="connsiteX50" fmla="*/ 5339856 w 12196437"/>
              <a:gd name="connsiteY50" fmla="*/ 3559441 h 6880475"/>
              <a:gd name="connsiteX51" fmla="*/ 5613009 w 12196437"/>
              <a:gd name="connsiteY51" fmla="*/ 3098544 h 6880475"/>
              <a:gd name="connsiteX52" fmla="*/ 4927349 w 12196437"/>
              <a:gd name="connsiteY52" fmla="*/ 3096017 h 6880475"/>
              <a:gd name="connsiteX53" fmla="*/ 4568411 w 12196437"/>
              <a:gd name="connsiteY53" fmla="*/ 2507768 h 6880475"/>
              <a:gd name="connsiteX54" fmla="*/ 4582687 w 12196437"/>
              <a:gd name="connsiteY54" fmla="*/ 2127225 h 6880475"/>
              <a:gd name="connsiteX55" fmla="*/ 4252934 w 12196437"/>
              <a:gd name="connsiteY55" fmla="*/ 1643207 h 6880475"/>
              <a:gd name="connsiteX56" fmla="*/ 3444344 w 12196437"/>
              <a:gd name="connsiteY56" fmla="*/ 1638786 h 6880475"/>
              <a:gd name="connsiteX57" fmla="*/ 3194438 w 12196437"/>
              <a:gd name="connsiteY57" fmla="*/ 2076941 h 6880475"/>
              <a:gd name="connsiteX58" fmla="*/ 2278710 w 12196437"/>
              <a:gd name="connsiteY58" fmla="*/ 2076941 h 6880475"/>
              <a:gd name="connsiteX59" fmla="*/ 2053568 w 12196437"/>
              <a:gd name="connsiteY59" fmla="*/ 1657105 h 6880475"/>
              <a:gd name="connsiteX60" fmla="*/ 1715602 w 12196437"/>
              <a:gd name="connsiteY60" fmla="*/ 1657105 h 6880475"/>
              <a:gd name="connsiteX61" fmla="*/ 1365381 w 12196437"/>
              <a:gd name="connsiteY61" fmla="*/ 2321286 h 6880475"/>
              <a:gd name="connsiteX62" fmla="*/ 1372331 w 12196437"/>
              <a:gd name="connsiteY62" fmla="*/ 2653694 h 6880475"/>
              <a:gd name="connsiteX63" fmla="*/ 1441818 w 12196437"/>
              <a:gd name="connsiteY63" fmla="*/ 2745670 h 6880475"/>
              <a:gd name="connsiteX64" fmla="*/ 1553125 w 12196437"/>
              <a:gd name="connsiteY64" fmla="*/ 2743775 h 6880475"/>
              <a:gd name="connsiteX65" fmla="*/ 1649399 w 12196437"/>
              <a:gd name="connsiteY65" fmla="*/ 2662411 h 6880475"/>
              <a:gd name="connsiteX66" fmla="*/ 3697281 w 12196437"/>
              <a:gd name="connsiteY66" fmla="*/ 2663801 h 6880475"/>
              <a:gd name="connsiteX67" fmla="*/ 3898038 w 12196437"/>
              <a:gd name="connsiteY67" fmla="*/ 2270370 h 6880475"/>
              <a:gd name="connsiteX68" fmla="*/ 3931141 w 12196437"/>
              <a:gd name="connsiteY68" fmla="*/ 2270370 h 6880475"/>
              <a:gd name="connsiteX69" fmla="*/ 3994312 w 12196437"/>
              <a:gd name="connsiteY69" fmla="*/ 2353504 h 6880475"/>
              <a:gd name="connsiteX70" fmla="*/ 3994312 w 12196437"/>
              <a:gd name="connsiteY70" fmla="*/ 2771317 h 6880475"/>
              <a:gd name="connsiteX71" fmla="*/ 4377887 w 12196437"/>
              <a:gd name="connsiteY71" fmla="*/ 3414653 h 6880475"/>
              <a:gd name="connsiteX72" fmla="*/ 4099303 w 12196437"/>
              <a:gd name="connsiteY72" fmla="*/ 3832466 h 6880475"/>
              <a:gd name="connsiteX73" fmla="*/ 4091595 w 12196437"/>
              <a:gd name="connsiteY73" fmla="*/ 4456471 h 6880475"/>
              <a:gd name="connsiteX74" fmla="*/ 3969297 w 12196437"/>
              <a:gd name="connsiteY74" fmla="*/ 4641815 h 6880475"/>
              <a:gd name="connsiteX75" fmla="*/ 3858620 w 12196437"/>
              <a:gd name="connsiteY75" fmla="*/ 4455966 h 6880475"/>
              <a:gd name="connsiteX76" fmla="*/ 3858620 w 12196437"/>
              <a:gd name="connsiteY76" fmla="*/ 4076939 h 6880475"/>
              <a:gd name="connsiteX77" fmla="*/ 3720781 w 12196437"/>
              <a:gd name="connsiteY77" fmla="*/ 3851165 h 6880475"/>
              <a:gd name="connsiteX78" fmla="*/ 3720781 w 12196437"/>
              <a:gd name="connsiteY78" fmla="*/ 3321665 h 6880475"/>
              <a:gd name="connsiteX79" fmla="*/ 3556536 w 12196437"/>
              <a:gd name="connsiteY79" fmla="*/ 3043712 h 6880475"/>
              <a:gd name="connsiteX80" fmla="*/ 3728487 w 12196437"/>
              <a:gd name="connsiteY80" fmla="*/ 3043712 h 6880475"/>
              <a:gd name="connsiteX81" fmla="*/ 3946176 w 12196437"/>
              <a:gd name="connsiteY81" fmla="*/ 3385973 h 6880475"/>
              <a:gd name="connsiteX82" fmla="*/ 3779276 w 12196437"/>
              <a:gd name="connsiteY82" fmla="*/ 3638658 h 6880475"/>
              <a:gd name="connsiteX83" fmla="*/ 3779276 w 12196437"/>
              <a:gd name="connsiteY83" fmla="*/ 3763104 h 6880475"/>
              <a:gd name="connsiteX84" fmla="*/ 3994058 w 12196437"/>
              <a:gd name="connsiteY84" fmla="*/ 3763104 h 6880475"/>
              <a:gd name="connsiteX85" fmla="*/ 3994058 w 12196437"/>
              <a:gd name="connsiteY85" fmla="*/ 3703345 h 6880475"/>
              <a:gd name="connsiteX86" fmla="*/ 4202144 w 12196437"/>
              <a:gd name="connsiteY86" fmla="*/ 3389005 h 6880475"/>
              <a:gd name="connsiteX87" fmla="*/ 3846365 w 12196437"/>
              <a:gd name="connsiteY87" fmla="*/ 2829562 h 6880475"/>
              <a:gd name="connsiteX88" fmla="*/ 3180036 w 12196437"/>
              <a:gd name="connsiteY88" fmla="*/ 2829562 h 6880475"/>
              <a:gd name="connsiteX89" fmla="*/ 3505368 w 12196437"/>
              <a:gd name="connsiteY89" fmla="*/ 3380540 h 6880475"/>
              <a:gd name="connsiteX90" fmla="*/ 3505368 w 12196437"/>
              <a:gd name="connsiteY90" fmla="*/ 3911178 h 6880475"/>
              <a:gd name="connsiteX91" fmla="*/ 3643206 w 12196437"/>
              <a:gd name="connsiteY91" fmla="*/ 4136952 h 6880475"/>
              <a:gd name="connsiteX92" fmla="*/ 3643206 w 12196437"/>
              <a:gd name="connsiteY92" fmla="*/ 4514083 h 6880475"/>
              <a:gd name="connsiteX93" fmla="*/ 3959062 w 12196437"/>
              <a:gd name="connsiteY93" fmla="*/ 5043836 h 6880475"/>
              <a:gd name="connsiteX94" fmla="*/ 4305619 w 12196437"/>
              <a:gd name="connsiteY94" fmla="*/ 4522043 h 6880475"/>
              <a:gd name="connsiteX95" fmla="*/ 4313199 w 12196437"/>
              <a:gd name="connsiteY95" fmla="*/ 3898291 h 6880475"/>
              <a:gd name="connsiteX96" fmla="*/ 4631708 w 12196437"/>
              <a:gd name="connsiteY96" fmla="*/ 3420464 h 6880475"/>
              <a:gd name="connsiteX97" fmla="*/ 4209093 w 12196437"/>
              <a:gd name="connsiteY97" fmla="*/ 2712442 h 6880475"/>
              <a:gd name="connsiteX98" fmla="*/ 4209093 w 12196437"/>
              <a:gd name="connsiteY98" fmla="*/ 2281616 h 6880475"/>
              <a:gd name="connsiteX99" fmla="*/ 4037899 w 12196437"/>
              <a:gd name="connsiteY99" fmla="*/ 2055968 h 6880475"/>
              <a:gd name="connsiteX100" fmla="*/ 3766642 w 12196437"/>
              <a:gd name="connsiteY100" fmla="*/ 2055968 h 6880475"/>
              <a:gd name="connsiteX101" fmla="*/ 3566390 w 12196437"/>
              <a:gd name="connsiteY101" fmla="*/ 2448766 h 6880475"/>
              <a:gd name="connsiteX102" fmla="*/ 1582816 w 12196437"/>
              <a:gd name="connsiteY102" fmla="*/ 2447629 h 6880475"/>
              <a:gd name="connsiteX103" fmla="*/ 1581300 w 12196437"/>
              <a:gd name="connsiteY103" fmla="*/ 2371823 h 6880475"/>
              <a:gd name="connsiteX104" fmla="*/ 1844598 w 12196437"/>
              <a:gd name="connsiteY104" fmla="*/ 1871382 h 6880475"/>
              <a:gd name="connsiteX105" fmla="*/ 1924951 w 12196437"/>
              <a:gd name="connsiteY105" fmla="*/ 1871382 h 6880475"/>
              <a:gd name="connsiteX106" fmla="*/ 2150220 w 12196437"/>
              <a:gd name="connsiteY106" fmla="*/ 2291216 h 6880475"/>
              <a:gd name="connsiteX107" fmla="*/ 3319265 w 12196437"/>
              <a:gd name="connsiteY107" fmla="*/ 2291216 h 6880475"/>
              <a:gd name="connsiteX108" fmla="*/ 3568665 w 12196437"/>
              <a:gd name="connsiteY108" fmla="*/ 1853820 h 6880475"/>
              <a:gd name="connsiteX109" fmla="*/ 4139353 w 12196437"/>
              <a:gd name="connsiteY109" fmla="*/ 1856852 h 6880475"/>
              <a:gd name="connsiteX110" fmla="*/ 4365758 w 12196437"/>
              <a:gd name="connsiteY110" fmla="*/ 2189259 h 6880475"/>
              <a:gd name="connsiteX111" fmla="*/ 4351733 w 12196437"/>
              <a:gd name="connsiteY111" fmla="*/ 2563864 h 6880475"/>
              <a:gd name="connsiteX112" fmla="*/ 4806566 w 12196437"/>
              <a:gd name="connsiteY112" fmla="*/ 3310294 h 6880475"/>
              <a:gd name="connsiteX113" fmla="*/ 5236761 w 12196437"/>
              <a:gd name="connsiteY113" fmla="*/ 3311936 h 6880475"/>
              <a:gd name="connsiteX114" fmla="*/ 5217179 w 12196437"/>
              <a:gd name="connsiteY114" fmla="*/ 3344912 h 6880475"/>
              <a:gd name="connsiteX115" fmla="*/ 4833982 w 12196437"/>
              <a:gd name="connsiteY115" fmla="*/ 3346301 h 6880475"/>
              <a:gd name="connsiteX116" fmla="*/ 4470243 w 12196437"/>
              <a:gd name="connsiteY116" fmla="*/ 3957166 h 6880475"/>
              <a:gd name="connsiteX117" fmla="*/ 4466200 w 12196437"/>
              <a:gd name="connsiteY117" fmla="*/ 4547185 h 6880475"/>
              <a:gd name="connsiteX118" fmla="*/ 3989889 w 12196437"/>
              <a:gd name="connsiteY118" fmla="*/ 5309408 h 6880475"/>
              <a:gd name="connsiteX119" fmla="*/ 3989889 w 12196437"/>
              <a:gd name="connsiteY119" fmla="*/ 5556786 h 6880475"/>
              <a:gd name="connsiteX120" fmla="*/ 3950345 w 12196437"/>
              <a:gd name="connsiteY120" fmla="*/ 5622106 h 6880475"/>
              <a:gd name="connsiteX121" fmla="*/ 3857736 w 12196437"/>
              <a:gd name="connsiteY121" fmla="*/ 5501448 h 6880475"/>
              <a:gd name="connsiteX122" fmla="*/ 3857736 w 12196437"/>
              <a:gd name="connsiteY122" fmla="*/ 5168410 h 6880475"/>
              <a:gd name="connsiteX123" fmla="*/ 3522802 w 12196437"/>
              <a:gd name="connsiteY123" fmla="*/ 4608082 h 6880475"/>
              <a:gd name="connsiteX124" fmla="*/ 3522802 w 12196437"/>
              <a:gd name="connsiteY124" fmla="*/ 4281108 h 6880475"/>
              <a:gd name="connsiteX125" fmla="*/ 3336195 w 12196437"/>
              <a:gd name="connsiteY125" fmla="*/ 3960830 h 6880475"/>
              <a:gd name="connsiteX126" fmla="*/ 3336195 w 12196437"/>
              <a:gd name="connsiteY126" fmla="*/ 3424002 h 6880475"/>
              <a:gd name="connsiteX127" fmla="*/ 3015158 w 12196437"/>
              <a:gd name="connsiteY127" fmla="*/ 2839290 h 6880475"/>
              <a:gd name="connsiteX128" fmla="*/ 1735312 w 12196437"/>
              <a:gd name="connsiteY128" fmla="*/ 2839290 h 6880475"/>
              <a:gd name="connsiteX129" fmla="*/ 1598231 w 12196437"/>
              <a:gd name="connsiteY129" fmla="*/ 3018316 h 6880475"/>
              <a:gd name="connsiteX130" fmla="*/ 1435880 w 12196437"/>
              <a:gd name="connsiteY130" fmla="*/ 3018316 h 6880475"/>
              <a:gd name="connsiteX131" fmla="*/ 1210865 w 12196437"/>
              <a:gd name="connsiteY131" fmla="*/ 2693869 h 6880475"/>
              <a:gd name="connsiteX132" fmla="*/ 1201263 w 12196437"/>
              <a:gd name="connsiteY132" fmla="*/ 2236638 h 6880475"/>
              <a:gd name="connsiteX133" fmla="*/ 1623246 w 12196437"/>
              <a:gd name="connsiteY133" fmla="*/ 1488944 h 6880475"/>
              <a:gd name="connsiteX134" fmla="*/ 2104483 w 12196437"/>
              <a:gd name="connsiteY134" fmla="*/ 1488944 h 6880475"/>
              <a:gd name="connsiteX135" fmla="*/ 2373593 w 12196437"/>
              <a:gd name="connsiteY135" fmla="*/ 1948955 h 6880475"/>
              <a:gd name="connsiteX136" fmla="*/ 3128235 w 12196437"/>
              <a:gd name="connsiteY136" fmla="*/ 1948955 h 6880475"/>
              <a:gd name="connsiteX137" fmla="*/ 3373339 w 12196437"/>
              <a:gd name="connsiteY137" fmla="*/ 1501578 h 6880475"/>
              <a:gd name="connsiteX138" fmla="*/ 4288437 w 12196437"/>
              <a:gd name="connsiteY138" fmla="*/ 1501578 h 6880475"/>
              <a:gd name="connsiteX139" fmla="*/ 4698165 w 12196437"/>
              <a:gd name="connsiteY139" fmla="*/ 2067717 h 6880475"/>
              <a:gd name="connsiteX140" fmla="*/ 4697532 w 12196437"/>
              <a:gd name="connsiteY140" fmla="*/ 2487932 h 6880475"/>
              <a:gd name="connsiteX141" fmla="*/ 4999743 w 12196437"/>
              <a:gd name="connsiteY141" fmla="*/ 3007199 h 6880475"/>
              <a:gd name="connsiteX142" fmla="*/ 5779529 w 12196437"/>
              <a:gd name="connsiteY142" fmla="*/ 3007199 h 6880475"/>
              <a:gd name="connsiteX143" fmla="*/ 5412124 w 12196437"/>
              <a:gd name="connsiteY143" fmla="*/ 3649776 h 6880475"/>
              <a:gd name="connsiteX144" fmla="*/ 5117999 w 12196437"/>
              <a:gd name="connsiteY144" fmla="*/ 3646618 h 6880475"/>
              <a:gd name="connsiteX145" fmla="*/ 4820842 w 12196437"/>
              <a:gd name="connsiteY145" fmla="*/ 4115347 h 6880475"/>
              <a:gd name="connsiteX146" fmla="*/ 4820842 w 12196437"/>
              <a:gd name="connsiteY146" fmla="*/ 4653691 h 6880475"/>
              <a:gd name="connsiteX147" fmla="*/ 4308777 w 12196437"/>
              <a:gd name="connsiteY147" fmla="*/ 5456344 h 6880475"/>
              <a:gd name="connsiteX148" fmla="*/ 4308777 w 12196437"/>
              <a:gd name="connsiteY148" fmla="*/ 5746173 h 6880475"/>
              <a:gd name="connsiteX149" fmla="*/ 4126971 w 12196437"/>
              <a:gd name="connsiteY149" fmla="*/ 6048637 h 6880475"/>
              <a:gd name="connsiteX150" fmla="*/ 3777634 w 12196437"/>
              <a:gd name="connsiteY150" fmla="*/ 6046490 h 6880475"/>
              <a:gd name="connsiteX151" fmla="*/ 3482119 w 12196437"/>
              <a:gd name="connsiteY151" fmla="*/ 5698668 h 6880475"/>
              <a:gd name="connsiteX152" fmla="*/ 3482119 w 12196437"/>
              <a:gd name="connsiteY152" fmla="*/ 5258366 h 6880475"/>
              <a:gd name="connsiteX153" fmla="*/ 3169549 w 12196437"/>
              <a:gd name="connsiteY153" fmla="*/ 4689826 h 6880475"/>
              <a:gd name="connsiteX154" fmla="*/ 3170560 w 12196437"/>
              <a:gd name="connsiteY154" fmla="*/ 4345543 h 6880475"/>
              <a:gd name="connsiteX155" fmla="*/ 2984458 w 12196437"/>
              <a:gd name="connsiteY155" fmla="*/ 4021474 h 6880475"/>
              <a:gd name="connsiteX156" fmla="*/ 2984458 w 12196437"/>
              <a:gd name="connsiteY156" fmla="*/ 3498544 h 6880475"/>
              <a:gd name="connsiteX157" fmla="*/ 2842701 w 12196437"/>
              <a:gd name="connsiteY157" fmla="*/ 3244975 h 6880475"/>
              <a:gd name="connsiteX158" fmla="*/ 1857863 w 12196437"/>
              <a:gd name="connsiteY158" fmla="*/ 3244975 h 6880475"/>
              <a:gd name="connsiteX159" fmla="*/ 1775615 w 12196437"/>
              <a:gd name="connsiteY159" fmla="*/ 3387615 h 6880475"/>
              <a:gd name="connsiteX160" fmla="*/ 1225520 w 12196437"/>
              <a:gd name="connsiteY160" fmla="*/ 3387615 h 6880475"/>
              <a:gd name="connsiteX161" fmla="*/ 857360 w 12196437"/>
              <a:gd name="connsiteY161" fmla="*/ 2815285 h 6880475"/>
              <a:gd name="connsiteX162" fmla="*/ 857360 w 12196437"/>
              <a:gd name="connsiteY162" fmla="*/ 2118254 h 6880475"/>
              <a:gd name="connsiteX163" fmla="*/ 1444599 w 12196437"/>
              <a:gd name="connsiteY163" fmla="*/ 1131901 h 6880475"/>
              <a:gd name="connsiteX164" fmla="*/ 2327351 w 12196437"/>
              <a:gd name="connsiteY164" fmla="*/ 1131901 h 6880475"/>
              <a:gd name="connsiteX165" fmla="*/ 2561211 w 12196437"/>
              <a:gd name="connsiteY165" fmla="*/ 1518003 h 6880475"/>
              <a:gd name="connsiteX166" fmla="*/ 2943775 w 12196437"/>
              <a:gd name="connsiteY166" fmla="*/ 1515476 h 6880475"/>
              <a:gd name="connsiteX167" fmla="*/ 3154640 w 12196437"/>
              <a:gd name="connsiteY167" fmla="*/ 1131901 h 6880475"/>
              <a:gd name="connsiteX168" fmla="*/ 9701445 w 12196437"/>
              <a:gd name="connsiteY168" fmla="*/ 1131901 h 6880475"/>
              <a:gd name="connsiteX169" fmla="*/ 9701445 w 12196437"/>
              <a:gd name="connsiteY169" fmla="*/ 917119 h 6880475"/>
              <a:gd name="connsiteX170" fmla="*/ 3027541 w 12196437"/>
              <a:gd name="connsiteY170" fmla="*/ 917119 h 6880475"/>
              <a:gd name="connsiteX171" fmla="*/ 2816548 w 12196437"/>
              <a:gd name="connsiteY171" fmla="*/ 1301452 h 6880475"/>
              <a:gd name="connsiteX172" fmla="*/ 2681994 w 12196437"/>
              <a:gd name="connsiteY172" fmla="*/ 1302336 h 6880475"/>
              <a:gd name="connsiteX173" fmla="*/ 2448388 w 12196437"/>
              <a:gd name="connsiteY173" fmla="*/ 917119 h 6880475"/>
              <a:gd name="connsiteX174" fmla="*/ 0 w 12196437"/>
              <a:gd name="connsiteY174" fmla="*/ 0 h 6880475"/>
              <a:gd name="connsiteX175" fmla="*/ 11413612 w 12196437"/>
              <a:gd name="connsiteY175" fmla="*/ 0 h 6880475"/>
              <a:gd name="connsiteX176" fmla="*/ 12183186 w 12196437"/>
              <a:gd name="connsiteY176" fmla="*/ 0 h 6880475"/>
              <a:gd name="connsiteX177" fmla="*/ 12196437 w 12196437"/>
              <a:gd name="connsiteY177" fmla="*/ 0 h 6880475"/>
              <a:gd name="connsiteX178" fmla="*/ 12196437 w 12196437"/>
              <a:gd name="connsiteY178" fmla="*/ 6880472 h 6880475"/>
              <a:gd name="connsiteX179" fmla="*/ 12183186 w 12196437"/>
              <a:gd name="connsiteY179" fmla="*/ 6880472 h 6880475"/>
              <a:gd name="connsiteX180" fmla="*/ 12183186 w 12196437"/>
              <a:gd name="connsiteY180" fmla="*/ 6880475 h 6880475"/>
              <a:gd name="connsiteX181" fmla="*/ 0 w 12196437"/>
              <a:gd name="connsiteY181" fmla="*/ 6880475 h 6880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</a:cxnLst>
            <a:rect l="l" t="t" r="r" b="b"/>
            <a:pathLst>
              <a:path w="12196437" h="6880475">
                <a:moveTo>
                  <a:pt x="1322551" y="917119"/>
                </a:moveTo>
                <a:lnTo>
                  <a:pt x="642578" y="2059126"/>
                </a:lnTo>
                <a:lnTo>
                  <a:pt x="642578" y="2878457"/>
                </a:lnTo>
                <a:lnTo>
                  <a:pt x="1108528" y="3602271"/>
                </a:lnTo>
                <a:lnTo>
                  <a:pt x="1899683" y="3602271"/>
                </a:lnTo>
                <a:lnTo>
                  <a:pt x="1982058" y="3459631"/>
                </a:lnTo>
                <a:lnTo>
                  <a:pt x="2716485" y="3459631"/>
                </a:lnTo>
                <a:lnTo>
                  <a:pt x="2769423" y="3554387"/>
                </a:lnTo>
                <a:lnTo>
                  <a:pt x="2769423" y="4078708"/>
                </a:lnTo>
                <a:lnTo>
                  <a:pt x="2955399" y="4402397"/>
                </a:lnTo>
                <a:lnTo>
                  <a:pt x="2954388" y="4744531"/>
                </a:lnTo>
                <a:lnTo>
                  <a:pt x="3267086" y="5313072"/>
                </a:lnTo>
                <a:lnTo>
                  <a:pt x="3267086" y="5777000"/>
                </a:lnTo>
                <a:lnTo>
                  <a:pt x="3677951" y="6260639"/>
                </a:lnTo>
                <a:lnTo>
                  <a:pt x="4248259" y="6264176"/>
                </a:lnTo>
                <a:lnTo>
                  <a:pt x="4523812" y="5805807"/>
                </a:lnTo>
                <a:lnTo>
                  <a:pt x="4523812" y="5519010"/>
                </a:lnTo>
                <a:lnTo>
                  <a:pt x="5035877" y="4716736"/>
                </a:lnTo>
                <a:lnTo>
                  <a:pt x="5035877" y="4178518"/>
                </a:lnTo>
                <a:lnTo>
                  <a:pt x="5235624" y="3862662"/>
                </a:lnTo>
                <a:lnTo>
                  <a:pt x="5536950" y="3866200"/>
                </a:lnTo>
                <a:lnTo>
                  <a:pt x="6150722" y="2792291"/>
                </a:lnTo>
                <a:lnTo>
                  <a:pt x="5124064" y="2792291"/>
                </a:lnTo>
                <a:lnTo>
                  <a:pt x="4913199" y="2429941"/>
                </a:lnTo>
                <a:lnTo>
                  <a:pt x="4913199" y="1998230"/>
                </a:lnTo>
                <a:lnTo>
                  <a:pt x="4398481" y="1286670"/>
                </a:lnTo>
                <a:lnTo>
                  <a:pt x="3246239" y="1286670"/>
                </a:lnTo>
                <a:lnTo>
                  <a:pt x="3001135" y="1734048"/>
                </a:lnTo>
                <a:lnTo>
                  <a:pt x="2497029" y="1734048"/>
                </a:lnTo>
                <a:lnTo>
                  <a:pt x="2227921" y="1274036"/>
                </a:lnTo>
                <a:lnTo>
                  <a:pt x="1498168" y="1274036"/>
                </a:lnTo>
                <a:lnTo>
                  <a:pt x="985470" y="2182310"/>
                </a:lnTo>
                <a:lnTo>
                  <a:pt x="998104" y="2763485"/>
                </a:lnTo>
                <a:lnTo>
                  <a:pt x="1323436" y="3233478"/>
                </a:lnTo>
                <a:lnTo>
                  <a:pt x="1704231" y="3233478"/>
                </a:lnTo>
                <a:lnTo>
                  <a:pt x="1841439" y="3054072"/>
                </a:lnTo>
                <a:lnTo>
                  <a:pt x="2888059" y="3054072"/>
                </a:lnTo>
                <a:lnTo>
                  <a:pt x="3121791" y="3479213"/>
                </a:lnTo>
                <a:lnTo>
                  <a:pt x="3121791" y="4018947"/>
                </a:lnTo>
                <a:lnTo>
                  <a:pt x="3308400" y="4339225"/>
                </a:lnTo>
                <a:lnTo>
                  <a:pt x="3308400" y="4666958"/>
                </a:lnTo>
                <a:lnTo>
                  <a:pt x="3643332" y="5227159"/>
                </a:lnTo>
                <a:lnTo>
                  <a:pt x="3643332" y="5573716"/>
                </a:lnTo>
                <a:lnTo>
                  <a:pt x="3866074" y="5864303"/>
                </a:lnTo>
                <a:lnTo>
                  <a:pt x="4054577" y="5864303"/>
                </a:lnTo>
                <a:lnTo>
                  <a:pt x="4204672" y="5616293"/>
                </a:lnTo>
                <a:lnTo>
                  <a:pt x="4204672" y="5371063"/>
                </a:lnTo>
                <a:lnTo>
                  <a:pt x="4680603" y="4609724"/>
                </a:lnTo>
                <a:lnTo>
                  <a:pt x="4684646" y="4017179"/>
                </a:lnTo>
                <a:lnTo>
                  <a:pt x="4956281" y="3560957"/>
                </a:lnTo>
                <a:lnTo>
                  <a:pt x="5339856" y="3559441"/>
                </a:lnTo>
                <a:lnTo>
                  <a:pt x="5613009" y="3098544"/>
                </a:lnTo>
                <a:lnTo>
                  <a:pt x="4927349" y="3096017"/>
                </a:lnTo>
                <a:lnTo>
                  <a:pt x="4568411" y="2507768"/>
                </a:lnTo>
                <a:lnTo>
                  <a:pt x="4582687" y="2127225"/>
                </a:lnTo>
                <a:lnTo>
                  <a:pt x="4252934" y="1643207"/>
                </a:lnTo>
                <a:lnTo>
                  <a:pt x="3444344" y="1638786"/>
                </a:lnTo>
                <a:lnTo>
                  <a:pt x="3194438" y="2076941"/>
                </a:lnTo>
                <a:lnTo>
                  <a:pt x="2278710" y="2076941"/>
                </a:lnTo>
                <a:lnTo>
                  <a:pt x="2053568" y="1657105"/>
                </a:lnTo>
                <a:lnTo>
                  <a:pt x="1715602" y="1657105"/>
                </a:lnTo>
                <a:lnTo>
                  <a:pt x="1365381" y="2321286"/>
                </a:lnTo>
                <a:lnTo>
                  <a:pt x="1372331" y="2653694"/>
                </a:lnTo>
                <a:lnTo>
                  <a:pt x="1441818" y="2745670"/>
                </a:lnTo>
                <a:lnTo>
                  <a:pt x="1553125" y="2743775"/>
                </a:lnTo>
                <a:lnTo>
                  <a:pt x="1649399" y="2662411"/>
                </a:lnTo>
                <a:lnTo>
                  <a:pt x="3697281" y="2663801"/>
                </a:lnTo>
                <a:lnTo>
                  <a:pt x="3898038" y="2270370"/>
                </a:lnTo>
                <a:lnTo>
                  <a:pt x="3931141" y="2270370"/>
                </a:lnTo>
                <a:lnTo>
                  <a:pt x="3994312" y="2353504"/>
                </a:lnTo>
                <a:lnTo>
                  <a:pt x="3994312" y="2771317"/>
                </a:lnTo>
                <a:lnTo>
                  <a:pt x="4377887" y="3414653"/>
                </a:lnTo>
                <a:lnTo>
                  <a:pt x="4099303" y="3832466"/>
                </a:lnTo>
                <a:lnTo>
                  <a:pt x="4091595" y="4456471"/>
                </a:lnTo>
                <a:lnTo>
                  <a:pt x="3969297" y="4641815"/>
                </a:lnTo>
                <a:lnTo>
                  <a:pt x="3858620" y="4455966"/>
                </a:lnTo>
                <a:lnTo>
                  <a:pt x="3858620" y="4076939"/>
                </a:lnTo>
                <a:lnTo>
                  <a:pt x="3720781" y="3851165"/>
                </a:lnTo>
                <a:lnTo>
                  <a:pt x="3720781" y="3321665"/>
                </a:lnTo>
                <a:lnTo>
                  <a:pt x="3556536" y="3043712"/>
                </a:lnTo>
                <a:lnTo>
                  <a:pt x="3728487" y="3043712"/>
                </a:lnTo>
                <a:lnTo>
                  <a:pt x="3946176" y="3385973"/>
                </a:lnTo>
                <a:lnTo>
                  <a:pt x="3779276" y="3638658"/>
                </a:lnTo>
                <a:lnTo>
                  <a:pt x="3779276" y="3763104"/>
                </a:lnTo>
                <a:lnTo>
                  <a:pt x="3994058" y="3763104"/>
                </a:lnTo>
                <a:lnTo>
                  <a:pt x="3994058" y="3703345"/>
                </a:lnTo>
                <a:lnTo>
                  <a:pt x="4202144" y="3389005"/>
                </a:lnTo>
                <a:lnTo>
                  <a:pt x="3846365" y="2829562"/>
                </a:lnTo>
                <a:lnTo>
                  <a:pt x="3180036" y="2829562"/>
                </a:lnTo>
                <a:lnTo>
                  <a:pt x="3505368" y="3380540"/>
                </a:lnTo>
                <a:lnTo>
                  <a:pt x="3505368" y="3911178"/>
                </a:lnTo>
                <a:lnTo>
                  <a:pt x="3643206" y="4136952"/>
                </a:lnTo>
                <a:lnTo>
                  <a:pt x="3643206" y="4514083"/>
                </a:lnTo>
                <a:lnTo>
                  <a:pt x="3959062" y="5043836"/>
                </a:lnTo>
                <a:lnTo>
                  <a:pt x="4305619" y="4522043"/>
                </a:lnTo>
                <a:lnTo>
                  <a:pt x="4313199" y="3898291"/>
                </a:lnTo>
                <a:lnTo>
                  <a:pt x="4631708" y="3420464"/>
                </a:lnTo>
                <a:lnTo>
                  <a:pt x="4209093" y="2712442"/>
                </a:lnTo>
                <a:lnTo>
                  <a:pt x="4209093" y="2281616"/>
                </a:lnTo>
                <a:lnTo>
                  <a:pt x="4037899" y="2055968"/>
                </a:lnTo>
                <a:lnTo>
                  <a:pt x="3766642" y="2055968"/>
                </a:lnTo>
                <a:lnTo>
                  <a:pt x="3566390" y="2448766"/>
                </a:lnTo>
                <a:lnTo>
                  <a:pt x="1582816" y="2447629"/>
                </a:lnTo>
                <a:lnTo>
                  <a:pt x="1581300" y="2371823"/>
                </a:lnTo>
                <a:lnTo>
                  <a:pt x="1844598" y="1871382"/>
                </a:lnTo>
                <a:lnTo>
                  <a:pt x="1924951" y="1871382"/>
                </a:lnTo>
                <a:lnTo>
                  <a:pt x="2150220" y="2291216"/>
                </a:lnTo>
                <a:lnTo>
                  <a:pt x="3319265" y="2291216"/>
                </a:lnTo>
                <a:lnTo>
                  <a:pt x="3568665" y="1853820"/>
                </a:lnTo>
                <a:lnTo>
                  <a:pt x="4139353" y="1856852"/>
                </a:lnTo>
                <a:lnTo>
                  <a:pt x="4365758" y="2189259"/>
                </a:lnTo>
                <a:lnTo>
                  <a:pt x="4351733" y="2563864"/>
                </a:lnTo>
                <a:lnTo>
                  <a:pt x="4806566" y="3310294"/>
                </a:lnTo>
                <a:lnTo>
                  <a:pt x="5236761" y="3311936"/>
                </a:lnTo>
                <a:lnTo>
                  <a:pt x="5217179" y="3344912"/>
                </a:lnTo>
                <a:lnTo>
                  <a:pt x="4833982" y="3346301"/>
                </a:lnTo>
                <a:lnTo>
                  <a:pt x="4470243" y="3957166"/>
                </a:lnTo>
                <a:lnTo>
                  <a:pt x="4466200" y="4547185"/>
                </a:lnTo>
                <a:lnTo>
                  <a:pt x="3989889" y="5309408"/>
                </a:lnTo>
                <a:lnTo>
                  <a:pt x="3989889" y="5556786"/>
                </a:lnTo>
                <a:lnTo>
                  <a:pt x="3950345" y="5622106"/>
                </a:lnTo>
                <a:lnTo>
                  <a:pt x="3857736" y="5501448"/>
                </a:lnTo>
                <a:lnTo>
                  <a:pt x="3857736" y="5168410"/>
                </a:lnTo>
                <a:lnTo>
                  <a:pt x="3522802" y="4608082"/>
                </a:lnTo>
                <a:lnTo>
                  <a:pt x="3522802" y="4281108"/>
                </a:lnTo>
                <a:lnTo>
                  <a:pt x="3336195" y="3960830"/>
                </a:lnTo>
                <a:lnTo>
                  <a:pt x="3336195" y="3424002"/>
                </a:lnTo>
                <a:lnTo>
                  <a:pt x="3015158" y="2839290"/>
                </a:lnTo>
                <a:lnTo>
                  <a:pt x="1735312" y="2839290"/>
                </a:lnTo>
                <a:lnTo>
                  <a:pt x="1598231" y="3018316"/>
                </a:lnTo>
                <a:lnTo>
                  <a:pt x="1435880" y="3018316"/>
                </a:lnTo>
                <a:lnTo>
                  <a:pt x="1210865" y="2693869"/>
                </a:lnTo>
                <a:lnTo>
                  <a:pt x="1201263" y="2236638"/>
                </a:lnTo>
                <a:lnTo>
                  <a:pt x="1623246" y="1488944"/>
                </a:lnTo>
                <a:lnTo>
                  <a:pt x="2104483" y="1488944"/>
                </a:lnTo>
                <a:lnTo>
                  <a:pt x="2373593" y="1948955"/>
                </a:lnTo>
                <a:lnTo>
                  <a:pt x="3128235" y="1948955"/>
                </a:lnTo>
                <a:lnTo>
                  <a:pt x="3373339" y="1501578"/>
                </a:lnTo>
                <a:lnTo>
                  <a:pt x="4288437" y="1501578"/>
                </a:lnTo>
                <a:lnTo>
                  <a:pt x="4698165" y="2067717"/>
                </a:lnTo>
                <a:lnTo>
                  <a:pt x="4697532" y="2487932"/>
                </a:lnTo>
                <a:lnTo>
                  <a:pt x="4999743" y="3007199"/>
                </a:lnTo>
                <a:lnTo>
                  <a:pt x="5779529" y="3007199"/>
                </a:lnTo>
                <a:lnTo>
                  <a:pt x="5412124" y="3649776"/>
                </a:lnTo>
                <a:lnTo>
                  <a:pt x="5117999" y="3646618"/>
                </a:lnTo>
                <a:lnTo>
                  <a:pt x="4820842" y="4115347"/>
                </a:lnTo>
                <a:lnTo>
                  <a:pt x="4820842" y="4653691"/>
                </a:lnTo>
                <a:lnTo>
                  <a:pt x="4308777" y="5456344"/>
                </a:lnTo>
                <a:lnTo>
                  <a:pt x="4308777" y="5746173"/>
                </a:lnTo>
                <a:lnTo>
                  <a:pt x="4126971" y="6048637"/>
                </a:lnTo>
                <a:lnTo>
                  <a:pt x="3777634" y="6046490"/>
                </a:lnTo>
                <a:lnTo>
                  <a:pt x="3482119" y="5698668"/>
                </a:lnTo>
                <a:lnTo>
                  <a:pt x="3482119" y="5258366"/>
                </a:lnTo>
                <a:lnTo>
                  <a:pt x="3169549" y="4689826"/>
                </a:lnTo>
                <a:lnTo>
                  <a:pt x="3170560" y="4345543"/>
                </a:lnTo>
                <a:lnTo>
                  <a:pt x="2984458" y="4021474"/>
                </a:lnTo>
                <a:lnTo>
                  <a:pt x="2984458" y="3498544"/>
                </a:lnTo>
                <a:lnTo>
                  <a:pt x="2842701" y="3244975"/>
                </a:lnTo>
                <a:lnTo>
                  <a:pt x="1857863" y="3244975"/>
                </a:lnTo>
                <a:lnTo>
                  <a:pt x="1775615" y="3387615"/>
                </a:lnTo>
                <a:lnTo>
                  <a:pt x="1225520" y="3387615"/>
                </a:lnTo>
                <a:lnTo>
                  <a:pt x="857360" y="2815285"/>
                </a:lnTo>
                <a:lnTo>
                  <a:pt x="857360" y="2118254"/>
                </a:lnTo>
                <a:lnTo>
                  <a:pt x="1444599" y="1131901"/>
                </a:lnTo>
                <a:lnTo>
                  <a:pt x="2327351" y="1131901"/>
                </a:lnTo>
                <a:lnTo>
                  <a:pt x="2561211" y="1518003"/>
                </a:lnTo>
                <a:lnTo>
                  <a:pt x="2943775" y="1515476"/>
                </a:lnTo>
                <a:lnTo>
                  <a:pt x="3154640" y="1131901"/>
                </a:lnTo>
                <a:lnTo>
                  <a:pt x="9701445" y="1131901"/>
                </a:lnTo>
                <a:lnTo>
                  <a:pt x="9701445" y="917119"/>
                </a:lnTo>
                <a:lnTo>
                  <a:pt x="3027541" y="917119"/>
                </a:lnTo>
                <a:lnTo>
                  <a:pt x="2816548" y="1301452"/>
                </a:lnTo>
                <a:lnTo>
                  <a:pt x="2681994" y="1302336"/>
                </a:lnTo>
                <a:lnTo>
                  <a:pt x="2448388" y="917119"/>
                </a:lnTo>
                <a:close/>
                <a:moveTo>
                  <a:pt x="0" y="0"/>
                </a:moveTo>
                <a:lnTo>
                  <a:pt x="11413612" y="0"/>
                </a:lnTo>
                <a:lnTo>
                  <a:pt x="12183186" y="0"/>
                </a:lnTo>
                <a:lnTo>
                  <a:pt x="12196437" y="0"/>
                </a:lnTo>
                <a:lnTo>
                  <a:pt x="12196437" y="6880472"/>
                </a:lnTo>
                <a:lnTo>
                  <a:pt x="12183186" y="6880472"/>
                </a:lnTo>
                <a:lnTo>
                  <a:pt x="12183186" y="6880475"/>
                </a:lnTo>
                <a:lnTo>
                  <a:pt x="0" y="6880475"/>
                </a:lnTo>
                <a:close/>
              </a:path>
            </a:pathLst>
          </a:custGeom>
          <a:solidFill>
            <a:schemeClr val="tx1">
              <a:alpha val="47014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  <a:buClrTx/>
              <a:buSzTx/>
              <a:buFontTx/>
              <a:buNone/>
              <a:tabLst/>
              <a:defRPr/>
            </a:pPr>
            <a:endParaRPr kumimoji="0" lang="en-US" sz="92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21" name="Title 520">
            <a:extLst>
              <a:ext uri="{FF2B5EF4-FFF2-40B4-BE49-F238E27FC236}">
                <a16:creationId xmlns:a16="http://schemas.microsoft.com/office/drawing/2014/main" id="{DD3D5241-53C0-7612-D85F-F4D957CE0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13978"/>
            <a:ext cx="11904428" cy="3939540"/>
          </a:xfrm>
        </p:spPr>
        <p:txBody>
          <a:bodyPr/>
          <a:lstStyle/>
          <a:p>
            <a:pPr algn="l"/>
            <a:br>
              <a:rPr lang="en-US" sz="2800" b="0" i="0" u="none" strike="noStrike" baseline="0" dirty="0">
                <a:solidFill>
                  <a:srgbClr val="000000"/>
                </a:solidFill>
                <a:latin typeface="Tahoma" panose="020B0604030504040204" pitchFamily="34" charset="0"/>
              </a:rPr>
            </a:br>
            <a:r>
              <a:rPr lang="en-US" sz="1800" dirty="0">
                <a:highlight>
                  <a:srgbClr val="ECECEC"/>
                </a:highlight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br>
              <a:rPr lang="en-US" sz="1400" b="0" dirty="0">
                <a:solidFill>
                  <a:srgbClr val="000000"/>
                </a:solidFill>
                <a:latin typeface="Tahoma" panose="020B0604030504040204" pitchFamily="34" charset="0"/>
              </a:rPr>
            </a:br>
            <a:r>
              <a:rPr lang="en-US" sz="2400" dirty="0" err="1">
                <a:highlight>
                  <a:srgbClr val="ECECEC"/>
                </a:highlight>
                <a:latin typeface="Tahoma" panose="020B0604030504040204" pitchFamily="34" charset="0"/>
                <a:cs typeface="Tahoma" panose="020B0604030504040204" pitchFamily="34" charset="0"/>
              </a:rPr>
              <a:t>iCLM</a:t>
            </a:r>
            <a:r>
              <a:rPr lang="en-US" sz="2400" dirty="0">
                <a:highlight>
                  <a:srgbClr val="ECECEC"/>
                </a:highlight>
                <a:latin typeface="Tahoma" panose="020B0604030504040204" pitchFamily="34" charset="0"/>
                <a:cs typeface="Tahoma" panose="020B0604030504040204" pitchFamily="34" charset="0"/>
              </a:rPr>
              <a:t> HQ 885/TPT-SUPPLY OF MATERIAL AND THE CONSTRUCTION OF STORM WATER &amp; ENVIRONMNETAL SYSTEMS AT SALDANHA TERMINAL AT THE TRANSNET PORT TERMINALS (TPT), BULK TERMINAL SALDANHA (BTS).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Tahoma" panose="020B0604030504040204" pitchFamily="34" charset="0"/>
              </a:rPr>
              <a:t>	</a:t>
            </a:r>
            <a:br>
              <a:rPr lang="en-US" sz="1800" b="0" i="0" u="none" strike="noStrike" baseline="0" dirty="0">
                <a:solidFill>
                  <a:srgbClr val="000000"/>
                </a:solidFill>
                <a:latin typeface="Tahoma" panose="020B0604030504040204" pitchFamily="34" charset="0"/>
              </a:rPr>
            </a:br>
            <a:r>
              <a:rPr lang="en-US" sz="1800" dirty="0">
                <a:highlight>
                  <a:srgbClr val="ECECEC"/>
                </a:highlight>
                <a:latin typeface="Tahoma" panose="020B0604030504040204" pitchFamily="34" charset="0"/>
                <a:cs typeface="Tahoma" panose="020B0604030504040204" pitchFamily="34" charset="0"/>
              </a:rPr>
              <a:t>	</a:t>
            </a:r>
            <a:br>
              <a:rPr lang="en-US" sz="1800" b="0" i="0" u="none" strike="noStrike" baseline="0" dirty="0">
                <a:solidFill>
                  <a:srgbClr val="000000"/>
                </a:solidFill>
                <a:latin typeface="Tahoma" panose="020B0604030504040204" pitchFamily="34" charset="0"/>
              </a:rPr>
            </a:br>
            <a:br>
              <a:rPr lang="en-US" sz="2400" dirty="0">
                <a:highlight>
                  <a:srgbClr val="ECECEC"/>
                </a:highlight>
                <a:latin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400" dirty="0">
                <a:highlight>
                  <a:srgbClr val="ECECEC"/>
                </a:highlight>
                <a:latin typeface="Tahoma" panose="020B0604030504040204" pitchFamily="34" charset="0"/>
                <a:cs typeface="Tahoma" panose="020B0604030504040204" pitchFamily="34" charset="0"/>
              </a:rPr>
              <a:t>	</a:t>
            </a:r>
            <a:br>
              <a:rPr lang="en-US" sz="2400" dirty="0">
                <a:highlight>
                  <a:srgbClr val="ECECEC"/>
                </a:highlight>
                <a:latin typeface="Tahoma" panose="020B0604030504040204" pitchFamily="34" charset="0"/>
                <a:cs typeface="Tahoma" panose="020B0604030504040204" pitchFamily="34" charset="0"/>
              </a:rPr>
            </a:br>
            <a:br>
              <a:rPr lang="en-US" sz="2400" dirty="0">
                <a:highlight>
                  <a:srgbClr val="ECECEC"/>
                </a:highlight>
                <a:latin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ECECEC"/>
                </a:highlight>
                <a:uLnTx/>
                <a:uFillTx/>
                <a:latin typeface="Tahoma" panose="020B0604030504040204" pitchFamily="34" charset="0"/>
                <a:ea typeface="Times New Roman" panose="02020603050405020304" pitchFamily="18" charset="0"/>
                <a:cs typeface="Tahoma" panose="020B0604030504040204" pitchFamily="34" charset="0"/>
              </a:rPr>
              <a:t>Specific goals--Enterprise &amp; Supplier Development &amp; Localisation </a:t>
            </a:r>
            <a:endParaRPr lang="en-US" dirty="0">
              <a:highlight>
                <a:srgbClr val="ECECEC"/>
              </a:highlight>
            </a:endParaRPr>
          </a:p>
        </p:txBody>
      </p:sp>
      <p:sp>
        <p:nvSpPr>
          <p:cNvPr id="522" name="Text Placeholder 521">
            <a:extLst>
              <a:ext uri="{FF2B5EF4-FFF2-40B4-BE49-F238E27FC236}">
                <a16:creationId xmlns:a16="http://schemas.microsoft.com/office/drawing/2014/main" id="{6864D623-7115-AB1B-0C2E-4786ED3223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0139" y="5744022"/>
            <a:ext cx="3260060" cy="807126"/>
          </a:xfrm>
        </p:spPr>
        <p:txBody>
          <a:bodyPr/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resented By: </a:t>
            </a:r>
            <a:r>
              <a:rPr lang="en-US" sz="2000" b="1" dirty="0">
                <a:solidFill>
                  <a:srgbClr val="FFFFFF"/>
                </a:solidFill>
              </a:rPr>
              <a:t>Lungelo Manci</a:t>
            </a:r>
            <a:endParaRPr kumimoji="0" lang="en-US" sz="2000" b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B23AF7-3458-051D-CD8B-A53B0977D5F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2596" y="571621"/>
            <a:ext cx="1391803" cy="948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6659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8324" y="317005"/>
            <a:ext cx="9675112" cy="720105"/>
          </a:xfrm>
        </p:spPr>
        <p:txBody>
          <a:bodyPr/>
          <a:lstStyle/>
          <a:p>
            <a:r>
              <a:rPr lang="en-ZA" sz="2000" dirty="0">
                <a:solidFill>
                  <a:srgbClr val="FF0000"/>
                </a:solidFill>
              </a:rPr>
              <a:t>Transformational Specific Goals as per Transnet Preferential Procurement Policy (TPPP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1751" y="1241842"/>
            <a:ext cx="11181023" cy="937154"/>
          </a:xfrm>
          <a:ln>
            <a:solidFill>
              <a:schemeClr val="tx1"/>
            </a:solidFill>
          </a:ln>
        </p:spPr>
        <p:txBody>
          <a:bodyPr/>
          <a:lstStyle/>
          <a:p>
            <a:pPr marL="0" marR="0" lvl="0" indent="0" algn="just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chemeClr val="tx1"/>
                </a:solidFill>
                <a:effectLst/>
                <a:latin typeface="Tahoma" panose="020B0604030504040204" pitchFamily="34" charset="0"/>
                <a:ea typeface="Calibri" panose="020F0502020204030204" pitchFamily="34" charset="0"/>
              </a:rPr>
              <a:t>Priority will be given to the specific goals to advance areas or categories of persons or groups who were previously disadvantaged.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Calibri" panose="020F0502020204030204" pitchFamily="34" charset="0"/>
                <a:cs typeface="+mn-cs"/>
              </a:rPr>
              <a:t> Preferential Procurement point system will be allocated as per the table below:</a:t>
            </a:r>
            <a:endParaRPr lang="en-US" sz="1800" dirty="0">
              <a:solidFill>
                <a:schemeClr val="tx1"/>
              </a:solidFill>
              <a:effectLst/>
              <a:latin typeface="Tahoma" panose="020B0604030504040204" pitchFamily="34" charset="0"/>
              <a:ea typeface="Calibri" panose="020F0502020204030204" pitchFamily="34" charset="0"/>
            </a:endParaRPr>
          </a:p>
          <a:p>
            <a:pPr marL="0" indent="0"/>
            <a:endParaRPr lang="en-ZA" sz="1400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AE2F507-4485-DA39-39F6-8AA7CA0552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9797747"/>
              </p:ext>
            </p:extLst>
          </p:nvPr>
        </p:nvGraphicFramePr>
        <p:xfrm>
          <a:off x="430710" y="2610309"/>
          <a:ext cx="11327069" cy="2024205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5717668">
                  <a:extLst>
                    <a:ext uri="{9D8B030D-6E8A-4147-A177-3AD203B41FA5}">
                      <a16:colId xmlns:a16="http://schemas.microsoft.com/office/drawing/2014/main" val="1459263620"/>
                    </a:ext>
                  </a:extLst>
                </a:gridCol>
                <a:gridCol w="3252700">
                  <a:extLst>
                    <a:ext uri="{9D8B030D-6E8A-4147-A177-3AD203B41FA5}">
                      <a16:colId xmlns:a16="http://schemas.microsoft.com/office/drawing/2014/main" val="4283020273"/>
                    </a:ext>
                  </a:extLst>
                </a:gridCol>
                <a:gridCol w="2356701">
                  <a:extLst>
                    <a:ext uri="{9D8B030D-6E8A-4147-A177-3AD203B41FA5}">
                      <a16:colId xmlns:a16="http://schemas.microsoft.com/office/drawing/2014/main" val="2710424751"/>
                    </a:ext>
                  </a:extLst>
                </a:gridCol>
              </a:tblGrid>
              <a:tr h="366766"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Preference Point System 90/10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8139161"/>
                  </a:ext>
                </a:extLst>
              </a:tr>
              <a:tr h="33708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Specific Goal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Number of Points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Price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870594"/>
                  </a:ext>
                </a:extLst>
              </a:tr>
              <a:tr h="35853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B-BBEE Level 1 &amp; 2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004065044"/>
                  </a:ext>
                </a:extLst>
              </a:tr>
              <a:tr h="425421">
                <a:tc>
                  <a:txBody>
                    <a:bodyPr/>
                    <a:lstStyle/>
                    <a:p>
                      <a:pPr marL="0" marR="0" algn="l" defTabSz="779173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% Sub-Contracting to:</a:t>
                      </a:r>
                    </a:p>
                    <a:p>
                      <a:pPr marL="285750" marR="0" indent="-285750" algn="l" defTabSz="779173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l-PL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 EMEs &amp;QSE (51% BO)</a:t>
                      </a:r>
                      <a:endParaRPr lang="en-US" sz="14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774861320"/>
                  </a:ext>
                </a:extLst>
              </a:tr>
              <a:tr h="49591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Total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90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132600306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9B7B24C-6A6B-53F4-A203-55461DB3B6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1814954"/>
              </p:ext>
            </p:extLst>
          </p:nvPr>
        </p:nvGraphicFramePr>
        <p:xfrm>
          <a:off x="430710" y="4779621"/>
          <a:ext cx="11303101" cy="1966623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5703445">
                  <a:extLst>
                    <a:ext uri="{9D8B030D-6E8A-4147-A177-3AD203B41FA5}">
                      <a16:colId xmlns:a16="http://schemas.microsoft.com/office/drawing/2014/main" val="3895756119"/>
                    </a:ext>
                  </a:extLst>
                </a:gridCol>
                <a:gridCol w="5599656">
                  <a:extLst>
                    <a:ext uri="{9D8B030D-6E8A-4147-A177-3AD203B41FA5}">
                      <a16:colId xmlns:a16="http://schemas.microsoft.com/office/drawing/2014/main" val="493800678"/>
                    </a:ext>
                  </a:extLst>
                </a:gridCol>
              </a:tblGrid>
              <a:tr h="4883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pecific Goal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Acceptable Evidence 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9522052"/>
                  </a:ext>
                </a:extLst>
              </a:tr>
              <a:tr h="71677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B-BBEE Level 1 &amp; 2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50000"/>
                        </a:lnSpc>
                      </a:pP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B-BBEE Certificate/Sworn-Affidavit/ CIPC B-BBEE Certificate</a:t>
                      </a:r>
                      <a:b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JV consolidated scorecard and JV agreement.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2705971672"/>
                  </a:ext>
                </a:extLst>
              </a:tr>
              <a:tr h="541291">
                <a:tc>
                  <a:txBody>
                    <a:bodyPr/>
                    <a:lstStyle/>
                    <a:p>
                      <a:pPr marL="0" marR="0" algn="l" defTabSz="779173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% Sub-Contracting</a:t>
                      </a:r>
                    </a:p>
                    <a:p>
                      <a:pPr algn="l" fontAlgn="ctr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Sub-contracting agreements;</a:t>
                      </a:r>
                    </a:p>
                    <a:p>
                      <a:r>
                        <a:rPr lang="en-US" sz="16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• Subcontractors CIPC – B-BBEE Certificate / Sworn- Affidavit / B-BBEE Certificate as per DTIC guideline	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3295464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63833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8901" y="377367"/>
            <a:ext cx="8959541" cy="590300"/>
          </a:xfrm>
        </p:spPr>
        <p:txBody>
          <a:bodyPr/>
          <a:lstStyle/>
          <a:p>
            <a:pPr algn="ctr"/>
            <a:r>
              <a:rPr lang="en-US" sz="2000" dirty="0">
                <a:solidFill>
                  <a:srgbClr val="FF0000"/>
                </a:solidFill>
              </a:rPr>
              <a:t>VALID SWORN AFFIDAVIT</a:t>
            </a:r>
            <a:endParaRPr lang="en-ZA" sz="2000" dirty="0">
              <a:solidFill>
                <a:srgbClr val="FF000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8892" y="1074198"/>
            <a:ext cx="10333609" cy="5031293"/>
          </a:xfrm>
          <a:ln>
            <a:solidFill>
              <a:schemeClr val="tx1"/>
            </a:solidFill>
          </a:ln>
        </p:spPr>
        <p:txBody>
          <a:bodyPr/>
          <a:lstStyle/>
          <a:p>
            <a:pPr marL="103367" indent="-285750"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chemeClr val="tx1"/>
                </a:solidFill>
              </a:rPr>
              <a:t>Valid B-BBEE Certificate issued by SANAS accredited verification agency or Sworn affidavit.</a:t>
            </a:r>
            <a:endParaRPr lang="en-US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03367" indent="-285750"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chemeClr val="tx1"/>
                </a:solidFill>
              </a:rPr>
              <a:t>Valid Sworn affidavit must have the follow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Name of the deponent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D number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Designation </a:t>
            </a:r>
            <a:r>
              <a:rPr lang="en-US" sz="1400" dirty="0">
                <a:solidFill>
                  <a:srgbClr val="FF0000"/>
                </a:solidFill>
              </a:rPr>
              <a:t>(Owner, Member or Director)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Name of the Entity, </a:t>
            </a:r>
            <a:r>
              <a:rPr lang="en-US" sz="1400" dirty="0">
                <a:solidFill>
                  <a:srgbClr val="FF0000"/>
                </a:solidFill>
              </a:rPr>
              <a:t>(Trading name, registration number and tax numb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Percentage of black ownership with designated groups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ndicate financial year and revenue </a:t>
            </a:r>
            <a:r>
              <a:rPr lang="en-US" sz="1400" dirty="0">
                <a:solidFill>
                  <a:srgbClr val="FF0000"/>
                </a:solidFill>
              </a:rPr>
              <a:t>(DD/MM/YYY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B-BBEE level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Date deponent signed and date of Commissioner of Oath must be the same.</a:t>
            </a:r>
          </a:p>
          <a:p>
            <a:pPr marL="0" indent="0"/>
            <a:r>
              <a:rPr lang="en-US" sz="1400" dirty="0">
                <a:solidFill>
                  <a:srgbClr val="FF0000"/>
                </a:solidFill>
              </a:rPr>
              <a:t>Commissioner of Oath cannot be an employee or ex official of the enterprise because, a person cannot by law, commission a sworn-affidavit in which they have an inter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0" indent="0"/>
            <a:endParaRPr lang="en-US" sz="1400" dirty="0">
              <a:solidFill>
                <a:schemeClr val="tx1"/>
              </a:solidFill>
            </a:endParaRPr>
          </a:p>
          <a:p>
            <a:endParaRPr lang="en-US" sz="1400" dirty="0"/>
          </a:p>
          <a:p>
            <a:pPr marL="0" indent="0"/>
            <a:endParaRPr lang="en-ZA" sz="1400" dirty="0"/>
          </a:p>
        </p:txBody>
      </p:sp>
    </p:spTree>
    <p:extLst>
      <p:ext uri="{BB962C8B-B14F-4D97-AF65-F5344CB8AC3E}">
        <p14:creationId xmlns:p14="http://schemas.microsoft.com/office/powerpoint/2010/main" val="12281678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VALID SWORN AFFIDAVIT</a:t>
            </a:r>
            <a:endParaRPr lang="en-ZA" b="1" dirty="0">
              <a:solidFill>
                <a:srgbClr val="FF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05076" y="5953655"/>
            <a:ext cx="1411551" cy="2923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418085" y="1729269"/>
            <a:ext cx="518192" cy="749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419909" y="1642255"/>
            <a:ext cx="390285" cy="870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419906" y="2660802"/>
            <a:ext cx="516370" cy="820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C4D6459-D295-49B5-9203-50D0953ED8D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383" t="8285" r="34392" b="7702"/>
          <a:stretch/>
        </p:blipFill>
        <p:spPr>
          <a:xfrm>
            <a:off x="381741" y="1207610"/>
            <a:ext cx="5554535" cy="529109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8ED76C72-A052-488B-8C67-64F77193F2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311" t="8923" r="33520" b="5114"/>
          <a:stretch/>
        </p:blipFill>
        <p:spPr>
          <a:xfrm>
            <a:off x="6039962" y="1207609"/>
            <a:ext cx="5884509" cy="550253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1" name="Star: 5 Points 40">
            <a:extLst>
              <a:ext uri="{FF2B5EF4-FFF2-40B4-BE49-F238E27FC236}">
                <a16:creationId xmlns:a16="http://schemas.microsoft.com/office/drawing/2014/main" id="{41033DFF-AEA8-4741-A022-BF953C492928}"/>
              </a:ext>
            </a:extLst>
          </p:cNvPr>
          <p:cNvSpPr/>
          <p:nvPr/>
        </p:nvSpPr>
        <p:spPr>
          <a:xfrm>
            <a:off x="4474346" y="1691153"/>
            <a:ext cx="506027" cy="452761"/>
          </a:xfrm>
          <a:prstGeom prst="star5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  <a:buClrTx/>
              <a:buSzTx/>
              <a:buFontTx/>
              <a:buNone/>
              <a:tabLst/>
              <a:defRPr/>
            </a:pPr>
            <a:endParaRPr kumimoji="0" lang="en-US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2" name="Star: 5 Points 41">
            <a:extLst>
              <a:ext uri="{FF2B5EF4-FFF2-40B4-BE49-F238E27FC236}">
                <a16:creationId xmlns:a16="http://schemas.microsoft.com/office/drawing/2014/main" id="{D0251BA9-A13C-4D5D-B1EC-BAFCFB1E6765}"/>
              </a:ext>
            </a:extLst>
          </p:cNvPr>
          <p:cNvSpPr/>
          <p:nvPr/>
        </p:nvSpPr>
        <p:spPr>
          <a:xfrm>
            <a:off x="4983079" y="2381661"/>
            <a:ext cx="506027" cy="452761"/>
          </a:xfrm>
          <a:prstGeom prst="star5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  <a:buClrTx/>
              <a:buSzTx/>
              <a:buFontTx/>
              <a:buNone/>
              <a:tabLst/>
              <a:defRPr/>
            </a:pPr>
            <a:endParaRPr kumimoji="0" lang="en-US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3" name="Star: 5 Points 42">
            <a:extLst>
              <a:ext uri="{FF2B5EF4-FFF2-40B4-BE49-F238E27FC236}">
                <a16:creationId xmlns:a16="http://schemas.microsoft.com/office/drawing/2014/main" id="{951007D1-18B2-4B07-8D73-11EFAADB2D9E}"/>
              </a:ext>
            </a:extLst>
          </p:cNvPr>
          <p:cNvSpPr/>
          <p:nvPr/>
        </p:nvSpPr>
        <p:spPr>
          <a:xfrm>
            <a:off x="4535909" y="2856573"/>
            <a:ext cx="506027" cy="452761"/>
          </a:xfrm>
          <a:prstGeom prst="star5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  <a:buClrTx/>
              <a:buSzTx/>
              <a:buFontTx/>
              <a:buNone/>
              <a:tabLst/>
              <a:defRPr/>
            </a:pPr>
            <a:endParaRPr kumimoji="0" lang="en-US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4" name="Star: 5 Points 43">
            <a:extLst>
              <a:ext uri="{FF2B5EF4-FFF2-40B4-BE49-F238E27FC236}">
                <a16:creationId xmlns:a16="http://schemas.microsoft.com/office/drawing/2014/main" id="{EA8D9A51-DEF3-41D0-B73F-FD0FE2758195}"/>
              </a:ext>
            </a:extLst>
          </p:cNvPr>
          <p:cNvSpPr/>
          <p:nvPr/>
        </p:nvSpPr>
        <p:spPr>
          <a:xfrm>
            <a:off x="10782903" y="2177431"/>
            <a:ext cx="917867" cy="679142"/>
          </a:xfrm>
          <a:prstGeom prst="star5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  <a:buClrTx/>
              <a:buSzTx/>
              <a:buFontTx/>
              <a:buNone/>
              <a:tabLst/>
              <a:defRPr/>
            </a:pPr>
            <a:endParaRPr kumimoji="0" lang="en-US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5" name="Star: 5 Points 44">
            <a:extLst>
              <a:ext uri="{FF2B5EF4-FFF2-40B4-BE49-F238E27FC236}">
                <a16:creationId xmlns:a16="http://schemas.microsoft.com/office/drawing/2014/main" id="{38ABB8A6-4196-4B3B-A144-064221905103}"/>
              </a:ext>
            </a:extLst>
          </p:cNvPr>
          <p:cNvSpPr/>
          <p:nvPr/>
        </p:nvSpPr>
        <p:spPr>
          <a:xfrm>
            <a:off x="10988822" y="4330599"/>
            <a:ext cx="506027" cy="452761"/>
          </a:xfrm>
          <a:prstGeom prst="star5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  <a:buClrTx/>
              <a:buSzTx/>
              <a:buFontTx/>
              <a:buNone/>
              <a:tabLst/>
              <a:defRPr/>
            </a:pPr>
            <a:endParaRPr kumimoji="0" lang="en-US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6" name="Star: 5 Points 45">
            <a:extLst>
              <a:ext uri="{FF2B5EF4-FFF2-40B4-BE49-F238E27FC236}">
                <a16:creationId xmlns:a16="http://schemas.microsoft.com/office/drawing/2014/main" id="{30AAA1AD-DDFC-41EF-863F-2910E385D304}"/>
              </a:ext>
            </a:extLst>
          </p:cNvPr>
          <p:cNvSpPr/>
          <p:nvPr/>
        </p:nvSpPr>
        <p:spPr>
          <a:xfrm>
            <a:off x="11194743" y="5727274"/>
            <a:ext cx="506027" cy="452761"/>
          </a:xfrm>
          <a:prstGeom prst="star5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  <a:buClrTx/>
              <a:buSzTx/>
              <a:buFontTx/>
              <a:buNone/>
              <a:tabLst/>
              <a:defRPr/>
            </a:pPr>
            <a:endParaRPr kumimoji="0" lang="en-US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7" name="Star: 5 Points 46">
            <a:extLst>
              <a:ext uri="{FF2B5EF4-FFF2-40B4-BE49-F238E27FC236}">
                <a16:creationId xmlns:a16="http://schemas.microsoft.com/office/drawing/2014/main" id="{95F28A08-E7AD-4D5D-9B2F-A06F3CC57E51}"/>
              </a:ext>
            </a:extLst>
          </p:cNvPr>
          <p:cNvSpPr/>
          <p:nvPr/>
        </p:nvSpPr>
        <p:spPr>
          <a:xfrm>
            <a:off x="7991383" y="6113122"/>
            <a:ext cx="506027" cy="452761"/>
          </a:xfrm>
          <a:prstGeom prst="star5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  <a:buClrTx/>
              <a:buSzTx/>
              <a:buFontTx/>
              <a:buNone/>
              <a:tabLst/>
              <a:defRPr/>
            </a:pPr>
            <a:endParaRPr kumimoji="0" lang="en-US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8" name="Star: 5 Points 47">
            <a:extLst>
              <a:ext uri="{FF2B5EF4-FFF2-40B4-BE49-F238E27FC236}">
                <a16:creationId xmlns:a16="http://schemas.microsoft.com/office/drawing/2014/main" id="{BF7B1AE2-8E52-4008-9950-EF4FAED5CAD8}"/>
              </a:ext>
            </a:extLst>
          </p:cNvPr>
          <p:cNvSpPr/>
          <p:nvPr/>
        </p:nvSpPr>
        <p:spPr>
          <a:xfrm>
            <a:off x="11241835" y="3410581"/>
            <a:ext cx="506027" cy="452761"/>
          </a:xfrm>
          <a:prstGeom prst="star5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  <a:buClrTx/>
              <a:buSzTx/>
              <a:buFontTx/>
              <a:buNone/>
              <a:tabLst/>
              <a:defRPr/>
            </a:pPr>
            <a:endParaRPr kumimoji="0" lang="en-US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14659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4CD84-07AF-4FCC-8BDD-02C195C37B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COMMON MISTAKES 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FD6F713-959E-4459-A2E4-4365199CD2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325" y="1201381"/>
            <a:ext cx="9472612" cy="3335108"/>
          </a:xfrm>
          <a:ln>
            <a:solidFill>
              <a:schemeClr val="tx1"/>
            </a:solidFill>
          </a:ln>
        </p:spPr>
        <p:txBody>
          <a:bodyPr numCol="1"/>
          <a:lstStyle/>
          <a:p>
            <a:pPr marL="735429" marR="361381" lvl="1" indent="-285750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ZA" sz="1400" dirty="0">
                <a:solidFill>
                  <a:schemeClr val="tx1"/>
                </a:solidFill>
              </a:rPr>
              <a:t>Omitting full name and surname and identity number of the deponent (undersigned-person declaring under oaths). </a:t>
            </a:r>
          </a:p>
          <a:p>
            <a:pPr marL="735429" marR="361381" lvl="1" indent="-285750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ZA" sz="1400" dirty="0">
                <a:solidFill>
                  <a:schemeClr val="tx1"/>
                </a:solidFill>
              </a:rPr>
              <a:t>Dates of the deponent and commissioner of oaths are not the same </a:t>
            </a:r>
          </a:p>
          <a:p>
            <a:pPr marL="735429" marR="361381" lvl="1" indent="-285750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ZA" sz="1400" dirty="0">
                <a:solidFill>
                  <a:schemeClr val="tx1"/>
                </a:solidFill>
              </a:rPr>
              <a:t>Date for either commissioner of oaths or deponent is omitted. </a:t>
            </a:r>
          </a:p>
          <a:p>
            <a:pPr marL="735429" marR="361381" lvl="1" indent="-285750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ZA" sz="1400" dirty="0">
                <a:solidFill>
                  <a:schemeClr val="tx1"/>
                </a:solidFill>
              </a:rPr>
              <a:t>Not completing company financial year information i.e. DD/MM/YYY </a:t>
            </a:r>
          </a:p>
          <a:p>
            <a:pPr marL="735429" marR="361381" lvl="1" indent="-285750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ZA" sz="1400" dirty="0">
                <a:solidFill>
                  <a:schemeClr val="tx1"/>
                </a:solidFill>
              </a:rPr>
              <a:t>Not ticking the applicable box on the B-BBEE level contributor </a:t>
            </a:r>
          </a:p>
          <a:p>
            <a:pPr marL="735429" marR="361381" lvl="1" indent="-285750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ZA" sz="1400" dirty="0">
                <a:solidFill>
                  <a:schemeClr val="tx1"/>
                </a:solidFill>
              </a:rPr>
              <a:t>No stamp of the commissioner of oaths on the B-BBEE sworn affidavit. </a:t>
            </a:r>
          </a:p>
          <a:p>
            <a:pPr marL="735429" lvl="1" indent="-285750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ZA" sz="1400" dirty="0">
                <a:solidFill>
                  <a:schemeClr val="tx1"/>
                </a:solidFill>
              </a:rPr>
              <a:t>If commissioner of oaths stamp does not have date, it must be written manually and should be the same as for the deponent. </a:t>
            </a:r>
          </a:p>
          <a:p>
            <a:pPr marL="735429" lvl="1" indent="-285750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ZA" sz="1400" dirty="0">
                <a:solidFill>
                  <a:schemeClr val="tx1"/>
                </a:solidFill>
              </a:rPr>
              <a:t>B-BBEE sworn affidavit must be completed in the presence of the commissioner of oaths. </a:t>
            </a:r>
          </a:p>
          <a:p>
            <a:pPr marL="449679" lvl="1">
              <a:lnSpc>
                <a:spcPct val="100000"/>
              </a:lnSpc>
            </a:pPr>
            <a:endParaRPr lang="en-ZA" sz="1400" dirty="0">
              <a:solidFill>
                <a:schemeClr val="tx1"/>
              </a:solidFill>
            </a:endParaRPr>
          </a:p>
          <a:p>
            <a:pPr marL="449679" lvl="1">
              <a:lnSpc>
                <a:spcPct val="100000"/>
              </a:lnSpc>
            </a:pPr>
            <a:r>
              <a:rPr lang="en-ZA" sz="1400" b="1" dirty="0">
                <a:solidFill>
                  <a:schemeClr val="tx1"/>
                </a:solidFill>
              </a:rPr>
              <a:t>It is the responsibility of the deponent not commissioner of oaths to ensure that B-BBEE sworn affidavit is completed in full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C810AB-1227-48BA-8DFE-39190B871E0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956" t="47043" r="18759" b="29711"/>
          <a:stretch/>
        </p:blipFill>
        <p:spPr>
          <a:xfrm>
            <a:off x="319595" y="4625266"/>
            <a:ext cx="4367815" cy="150032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F1FB073-2506-4557-A392-65E6F4CCBF7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453" t="41477" r="27165" b="33346"/>
          <a:stretch/>
        </p:blipFill>
        <p:spPr>
          <a:xfrm rot="5400000">
            <a:off x="8750423" y="2506461"/>
            <a:ext cx="4237609" cy="150032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40E7246-9857-4992-8702-7AC98640328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534" t="23429" r="22305" b="33852"/>
          <a:stretch/>
        </p:blipFill>
        <p:spPr>
          <a:xfrm>
            <a:off x="4764628" y="4625266"/>
            <a:ext cx="5140309" cy="1757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93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676400" y="6536267"/>
            <a:ext cx="173729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156636" y="0"/>
            <a:ext cx="8125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ahoma"/>
                <a:ea typeface="+mn-ea"/>
                <a:cs typeface="ApexSans-Bold"/>
              </a:rPr>
              <a:t>VALID B-BBEE CERTIFICAT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DCE8853-1309-4638-842E-C8872C9ADC3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719" t="9191" r="26404" b="4691"/>
          <a:stretch/>
        </p:blipFill>
        <p:spPr>
          <a:xfrm>
            <a:off x="618477" y="681816"/>
            <a:ext cx="11141476" cy="603911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9" name="Star: 5 Points 28">
            <a:extLst>
              <a:ext uri="{FF2B5EF4-FFF2-40B4-BE49-F238E27FC236}">
                <a16:creationId xmlns:a16="http://schemas.microsoft.com/office/drawing/2014/main" id="{368A2630-A844-486E-9434-FBDB049E0101}"/>
              </a:ext>
            </a:extLst>
          </p:cNvPr>
          <p:cNvSpPr/>
          <p:nvPr/>
        </p:nvSpPr>
        <p:spPr>
          <a:xfrm>
            <a:off x="8282866" y="1398190"/>
            <a:ext cx="506027" cy="452761"/>
          </a:xfrm>
          <a:prstGeom prst="star5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  <a:buClrTx/>
              <a:buSzTx/>
              <a:buFontTx/>
              <a:buNone/>
              <a:tabLst/>
              <a:defRPr/>
            </a:pPr>
            <a:endParaRPr kumimoji="0" lang="en-US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0" name="Star: 5 Points 29">
            <a:extLst>
              <a:ext uri="{FF2B5EF4-FFF2-40B4-BE49-F238E27FC236}">
                <a16:creationId xmlns:a16="http://schemas.microsoft.com/office/drawing/2014/main" id="{B87512E2-D847-4748-BDB8-661921528D39}"/>
              </a:ext>
            </a:extLst>
          </p:cNvPr>
          <p:cNvSpPr/>
          <p:nvPr/>
        </p:nvSpPr>
        <p:spPr>
          <a:xfrm>
            <a:off x="10706470" y="5949803"/>
            <a:ext cx="506027" cy="452761"/>
          </a:xfrm>
          <a:prstGeom prst="star5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  <a:buClrTx/>
              <a:buSzTx/>
              <a:buFontTx/>
              <a:buNone/>
              <a:tabLst/>
              <a:defRPr/>
            </a:pPr>
            <a:endParaRPr kumimoji="0" lang="en-US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1" name="Star: 5 Points 30">
            <a:extLst>
              <a:ext uri="{FF2B5EF4-FFF2-40B4-BE49-F238E27FC236}">
                <a16:creationId xmlns:a16="http://schemas.microsoft.com/office/drawing/2014/main" id="{F5DC32F2-DBCC-4C31-B92B-CF407FAE4E09}"/>
              </a:ext>
            </a:extLst>
          </p:cNvPr>
          <p:cNvSpPr/>
          <p:nvPr/>
        </p:nvSpPr>
        <p:spPr>
          <a:xfrm>
            <a:off x="365464" y="3058314"/>
            <a:ext cx="506027" cy="452761"/>
          </a:xfrm>
          <a:prstGeom prst="star5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  <a:buClrTx/>
              <a:buSzTx/>
              <a:buFontTx/>
              <a:buNone/>
              <a:tabLst/>
              <a:defRPr/>
            </a:pPr>
            <a:endParaRPr kumimoji="0" lang="en-US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2" name="Star: 5 Points 31">
            <a:extLst>
              <a:ext uri="{FF2B5EF4-FFF2-40B4-BE49-F238E27FC236}">
                <a16:creationId xmlns:a16="http://schemas.microsoft.com/office/drawing/2014/main" id="{2D5B0E39-5C83-4F05-BCB7-069732158E83}"/>
              </a:ext>
            </a:extLst>
          </p:cNvPr>
          <p:cNvSpPr/>
          <p:nvPr/>
        </p:nvSpPr>
        <p:spPr>
          <a:xfrm>
            <a:off x="8535879" y="3919448"/>
            <a:ext cx="506027" cy="452761"/>
          </a:xfrm>
          <a:prstGeom prst="star5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  <a:buClrTx/>
              <a:buSzTx/>
              <a:buFontTx/>
              <a:buNone/>
              <a:tabLst/>
              <a:defRPr/>
            </a:pPr>
            <a:endParaRPr kumimoji="0" lang="en-US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9205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588" y="196314"/>
            <a:ext cx="10558670" cy="1066110"/>
          </a:xfrm>
        </p:spPr>
        <p:txBody>
          <a:bodyPr>
            <a:normAutofit/>
          </a:bodyPr>
          <a:lstStyle/>
          <a:p>
            <a:pPr defTabSz="457200">
              <a:spcBef>
                <a:spcPts val="1000"/>
              </a:spcBef>
            </a:pPr>
            <a:r>
              <a:rPr lang="en-US" sz="2400" b="1" kern="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oint Venture</a:t>
            </a:r>
            <a:endParaRPr lang="en-ZA" sz="2400" b="1" kern="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015" y="898181"/>
            <a:ext cx="11980985" cy="5446619"/>
          </a:xfr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</a:rPr>
              <a:t>In</a:t>
            </a:r>
            <a:r>
              <a:rPr lang="en-US" sz="1400" kern="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</a:rPr>
              <a:t>2019 DTI released amendments to the Codes of Good Practice. Joint Ventures are referred to in Revised Code 000, Statement 000: General Principles</a:t>
            </a:r>
          </a:p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</a:rPr>
              <a:t>- As per paragraph 7 of Amended Code Series 000, Statement 000 of the Codes of Good Practice, unincorporated joint ventures are required to compile a consolidated verification certificate. A consolidated verification certificate will consolidate the verified compliance data of joint venture partners if those Measured Entities were a single Measured Entity.  </a:t>
            </a:r>
          </a:p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ECECEC"/>
                </a:highlight>
                <a:latin typeface="Apex New Book" panose="02010600040501010103" pitchFamily="2" charset="77"/>
              </a:rPr>
              <a:t>- A JV will require its own Broad-Based Black Economic Empowerment (B-BBEE) certificate if they would like to tender or enter a contract that requires a B-BBEE Certificate.  </a:t>
            </a:r>
          </a:p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ECECEC"/>
                </a:highlight>
                <a:latin typeface="Apex New Book" panose="02010600040501010103" pitchFamily="2" charset="77"/>
              </a:rPr>
              <a:t>- A trust, consortium or joint venture (including unincorporated consortia and joint ventures) must submit a consolidated B-BBEE Status Level verification certificate for every separate bid. </a:t>
            </a:r>
          </a:p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ECECEC"/>
                </a:highlight>
                <a:latin typeface="Apex New Book" panose="02010600040501010103" pitchFamily="2" charset="77"/>
              </a:rPr>
              <a:t>- 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ECECEC"/>
                </a:highlight>
                <a:latin typeface="Apex New Book" panose="02010600040501010103" pitchFamily="2" charset="77"/>
              </a:rPr>
              <a:t>Note the following:</a:t>
            </a:r>
            <a:endParaRPr lang="en-ZA" sz="1400" b="1" dirty="0">
              <a:solidFill>
                <a:schemeClr val="tx1">
                  <a:lumMod val="65000"/>
                  <a:lumOff val="35000"/>
                </a:schemeClr>
              </a:solidFill>
              <a:highlight>
                <a:srgbClr val="ECECEC"/>
              </a:highlight>
              <a:latin typeface="Apex New Book" panose="02010600040501010103" pitchFamily="2" charset="77"/>
            </a:endParaRPr>
          </a:p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ECECEC"/>
                </a:highlight>
                <a:latin typeface="Apex New Book" panose="02010600040501010103" pitchFamily="2" charset="77"/>
              </a:rPr>
              <a:t>• A consolidated verification certificate is required.</a:t>
            </a:r>
            <a:b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ECECEC"/>
                </a:highlight>
                <a:latin typeface="Apex New Book" panose="02010600040501010103" pitchFamily="2" charset="77"/>
              </a:rPr>
            </a:b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ECECEC"/>
                </a:highlight>
                <a:latin typeface="Apex New Book" panose="02010600040501010103" pitchFamily="2" charset="77"/>
              </a:rPr>
              <a:t>• The consolidation is based on the weighting as defined in the joint venture agreement.</a:t>
            </a:r>
            <a:b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ECECEC"/>
                </a:highlight>
                <a:latin typeface="Apex New Book" panose="02010600040501010103" pitchFamily="2" charset="77"/>
              </a:rPr>
            </a:b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ECECEC"/>
                </a:highlight>
                <a:latin typeface="Apex New Book" panose="02010600040501010103" pitchFamily="2" charset="77"/>
              </a:rPr>
              <a:t>• The respective scores are weighted according to their proportionate share in the joint venture.</a:t>
            </a:r>
            <a:b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ECECEC"/>
                </a:highlight>
                <a:latin typeface="Apex New Book" panose="02010600040501010103" pitchFamily="2" charset="77"/>
              </a:rPr>
            </a:b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ECECEC"/>
                </a:highlight>
                <a:latin typeface="Apex New Book" panose="02010600040501010103" pitchFamily="2" charset="77"/>
              </a:rPr>
              <a:t>• A joint venture certificate is valid for 12 months and only applicable to a specific project.</a:t>
            </a:r>
            <a:b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C0C0C0"/>
                </a:highlight>
                <a:latin typeface="Apex New Book" panose="02010600040501010103" pitchFamily="2" charset="77"/>
              </a:rPr>
            </a:b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highlight>
                <a:srgbClr val="C0C0C0"/>
              </a:highlight>
              <a:latin typeface="Apex New Book" panose="02010600040501010103" pitchFamily="2" charset="77"/>
            </a:endParaRPr>
          </a:p>
          <a:p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</a:rPr>
              <a:t>Eligibility of a Joint Venture </a:t>
            </a:r>
            <a:endParaRPr lang="en-ZA" sz="1400" b="1" dirty="0">
              <a:solidFill>
                <a:schemeClr val="tx1">
                  <a:lumMod val="65000"/>
                  <a:lumOff val="35000"/>
                </a:schemeClr>
              </a:solidFill>
              <a:latin typeface="Apex New Book" panose="02010600040501010103" pitchFamily="2" charset="77"/>
            </a:endParaRPr>
          </a:p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</a:rPr>
              <a:t>Joint Ventures are required to compile a consolidated verification certificate. A consolidated verification certificate will consolidate the verified compliance data of joint venture partners in accordance .</a:t>
            </a:r>
          </a:p>
        </p:txBody>
      </p:sp>
    </p:spTree>
    <p:extLst>
      <p:ext uri="{BB962C8B-B14F-4D97-AF65-F5344CB8AC3E}">
        <p14:creationId xmlns:p14="http://schemas.microsoft.com/office/powerpoint/2010/main" val="26489862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raphic 2">
            <a:extLst>
              <a:ext uri="{FF2B5EF4-FFF2-40B4-BE49-F238E27FC236}">
                <a16:creationId xmlns:a16="http://schemas.microsoft.com/office/drawing/2014/main" id="{1AAE0263-097E-BD53-FF21-7D7BAD027D0D}"/>
              </a:ext>
            </a:extLst>
          </p:cNvPr>
          <p:cNvSpPr/>
          <p:nvPr/>
        </p:nvSpPr>
        <p:spPr>
          <a:xfrm>
            <a:off x="-4438" y="680"/>
            <a:ext cx="12183186" cy="6880473"/>
          </a:xfrm>
          <a:custGeom>
            <a:avLst/>
            <a:gdLst>
              <a:gd name="connsiteX0" fmla="*/ 0 w 9184957"/>
              <a:gd name="connsiteY0" fmla="*/ 0 h 5187219"/>
              <a:gd name="connsiteX1" fmla="*/ 0 w 9184957"/>
              <a:gd name="connsiteY1" fmla="*/ 5187220 h 5187219"/>
              <a:gd name="connsiteX2" fmla="*/ 9184957 w 9184957"/>
              <a:gd name="connsiteY2" fmla="*/ 5187220 h 5187219"/>
              <a:gd name="connsiteX3" fmla="*/ 9184957 w 9184957"/>
              <a:gd name="connsiteY3" fmla="*/ 0 h 5187219"/>
              <a:gd name="connsiteX4" fmla="*/ 7313962 w 9184957"/>
              <a:gd name="connsiteY4" fmla="*/ 853345 h 5187219"/>
              <a:gd name="connsiteX5" fmla="*/ 2378297 w 9184957"/>
              <a:gd name="connsiteY5" fmla="*/ 853345 h 5187219"/>
              <a:gd name="connsiteX6" fmla="*/ 2219325 w 9184957"/>
              <a:gd name="connsiteY6" fmla="*/ 1142524 h 5187219"/>
              <a:gd name="connsiteX7" fmla="*/ 1930908 w 9184957"/>
              <a:gd name="connsiteY7" fmla="*/ 1144429 h 5187219"/>
              <a:gd name="connsiteX8" fmla="*/ 1754600 w 9184957"/>
              <a:gd name="connsiteY8" fmla="*/ 853345 h 5187219"/>
              <a:gd name="connsiteX9" fmla="*/ 1089089 w 9184957"/>
              <a:gd name="connsiteY9" fmla="*/ 853345 h 5187219"/>
              <a:gd name="connsiteX10" fmla="*/ 646367 w 9184957"/>
              <a:gd name="connsiteY10" fmla="*/ 1596961 h 5187219"/>
              <a:gd name="connsiteX11" fmla="*/ 646367 w 9184957"/>
              <a:gd name="connsiteY11" fmla="*/ 2122456 h 5187219"/>
              <a:gd name="connsiteX12" fmla="*/ 923925 w 9184957"/>
              <a:gd name="connsiteY12" fmla="*/ 2553938 h 5187219"/>
              <a:gd name="connsiteX13" fmla="*/ 1338644 w 9184957"/>
              <a:gd name="connsiteY13" fmla="*/ 2553938 h 5187219"/>
              <a:gd name="connsiteX14" fmla="*/ 1400651 w 9184957"/>
              <a:gd name="connsiteY14" fmla="*/ 2446401 h 5187219"/>
              <a:gd name="connsiteX15" fmla="*/ 2143125 w 9184957"/>
              <a:gd name="connsiteY15" fmla="*/ 2446401 h 5187219"/>
              <a:gd name="connsiteX16" fmla="*/ 2249996 w 9184957"/>
              <a:gd name="connsiteY16" fmla="*/ 2637568 h 5187219"/>
              <a:gd name="connsiteX17" fmla="*/ 2249996 w 9184957"/>
              <a:gd name="connsiteY17" fmla="*/ 3031807 h 5187219"/>
              <a:gd name="connsiteX18" fmla="*/ 2390299 w 9184957"/>
              <a:gd name="connsiteY18" fmla="*/ 3276124 h 5187219"/>
              <a:gd name="connsiteX19" fmla="*/ 2389537 w 9184957"/>
              <a:gd name="connsiteY19" fmla="*/ 3535680 h 5187219"/>
              <a:gd name="connsiteX20" fmla="*/ 2625185 w 9184957"/>
              <a:gd name="connsiteY20" fmla="*/ 3964305 h 5187219"/>
              <a:gd name="connsiteX21" fmla="*/ 2625185 w 9184957"/>
              <a:gd name="connsiteY21" fmla="*/ 4296251 h 5187219"/>
              <a:gd name="connsiteX22" fmla="*/ 2847975 w 9184957"/>
              <a:gd name="connsiteY22" fmla="*/ 4558475 h 5187219"/>
              <a:gd name="connsiteX23" fmla="*/ 3111341 w 9184957"/>
              <a:gd name="connsiteY23" fmla="*/ 4560094 h 5187219"/>
              <a:gd name="connsiteX24" fmla="*/ 3248406 w 9184957"/>
              <a:gd name="connsiteY24" fmla="*/ 4332065 h 5187219"/>
              <a:gd name="connsiteX25" fmla="*/ 3248406 w 9184957"/>
              <a:gd name="connsiteY25" fmla="*/ 4113562 h 5187219"/>
              <a:gd name="connsiteX26" fmla="*/ 3634454 w 9184957"/>
              <a:gd name="connsiteY26" fmla="*/ 3508438 h 5187219"/>
              <a:gd name="connsiteX27" fmla="*/ 3634454 w 9184957"/>
              <a:gd name="connsiteY27" fmla="*/ 3102578 h 5187219"/>
              <a:gd name="connsiteX28" fmla="*/ 3858482 w 9184957"/>
              <a:gd name="connsiteY28" fmla="*/ 2749201 h 5187219"/>
              <a:gd name="connsiteX29" fmla="*/ 4080224 w 9184957"/>
              <a:gd name="connsiteY29" fmla="*/ 2751582 h 5187219"/>
              <a:gd name="connsiteX30" fmla="*/ 4357212 w 9184957"/>
              <a:gd name="connsiteY30" fmla="*/ 2267140 h 5187219"/>
              <a:gd name="connsiteX31" fmla="*/ 3769328 w 9184957"/>
              <a:gd name="connsiteY31" fmla="*/ 2267140 h 5187219"/>
              <a:gd name="connsiteX32" fmla="*/ 3541490 w 9184957"/>
              <a:gd name="connsiteY32" fmla="*/ 1875663 h 5187219"/>
              <a:gd name="connsiteX33" fmla="*/ 3541967 w 9184957"/>
              <a:gd name="connsiteY33" fmla="*/ 1558861 h 5187219"/>
              <a:gd name="connsiteX34" fmla="*/ 3233071 w 9184957"/>
              <a:gd name="connsiteY34" fmla="*/ 1132046 h 5187219"/>
              <a:gd name="connsiteX35" fmla="*/ 2543175 w 9184957"/>
              <a:gd name="connsiteY35" fmla="*/ 1132046 h 5187219"/>
              <a:gd name="connsiteX36" fmla="*/ 2358390 w 9184957"/>
              <a:gd name="connsiteY36" fmla="*/ 1469326 h 5187219"/>
              <a:gd name="connsiteX37" fmla="*/ 1789462 w 9184957"/>
              <a:gd name="connsiteY37" fmla="*/ 1469326 h 5187219"/>
              <a:gd name="connsiteX38" fmla="*/ 1586579 w 9184957"/>
              <a:gd name="connsiteY38" fmla="*/ 1122521 h 5187219"/>
              <a:gd name="connsiteX39" fmla="*/ 1223772 w 9184957"/>
              <a:gd name="connsiteY39" fmla="*/ 1122521 h 5187219"/>
              <a:gd name="connsiteX40" fmla="*/ 905637 w 9184957"/>
              <a:gd name="connsiteY40" fmla="*/ 1686211 h 5187219"/>
              <a:gd name="connsiteX41" fmla="*/ 912876 w 9184957"/>
              <a:gd name="connsiteY41" fmla="*/ 2030920 h 5187219"/>
              <a:gd name="connsiteX42" fmla="*/ 1082516 w 9184957"/>
              <a:gd name="connsiteY42" fmla="*/ 2275522 h 5187219"/>
              <a:gd name="connsiteX43" fmla="*/ 1204913 w 9184957"/>
              <a:gd name="connsiteY43" fmla="*/ 2275522 h 5187219"/>
              <a:gd name="connsiteX44" fmla="*/ 1308259 w 9184957"/>
              <a:gd name="connsiteY44" fmla="*/ 2140553 h 5187219"/>
              <a:gd name="connsiteX45" fmla="*/ 2273141 w 9184957"/>
              <a:gd name="connsiteY45" fmla="*/ 2140553 h 5187219"/>
              <a:gd name="connsiteX46" fmla="*/ 2515172 w 9184957"/>
              <a:gd name="connsiteY46" fmla="*/ 2581370 h 5187219"/>
              <a:gd name="connsiteX47" fmla="*/ 2515172 w 9184957"/>
              <a:gd name="connsiteY47" fmla="*/ 2986087 h 5187219"/>
              <a:gd name="connsiteX48" fmla="*/ 2655856 w 9184957"/>
              <a:gd name="connsiteY48" fmla="*/ 3227546 h 5187219"/>
              <a:gd name="connsiteX49" fmla="*/ 2655856 w 9184957"/>
              <a:gd name="connsiteY49" fmla="*/ 3474053 h 5187219"/>
              <a:gd name="connsiteX50" fmla="*/ 2908364 w 9184957"/>
              <a:gd name="connsiteY50" fmla="*/ 3896487 h 5187219"/>
              <a:gd name="connsiteX51" fmla="*/ 2908364 w 9184957"/>
              <a:gd name="connsiteY51" fmla="*/ 4147566 h 5187219"/>
              <a:gd name="connsiteX52" fmla="*/ 2978182 w 9184957"/>
              <a:gd name="connsiteY52" fmla="*/ 4238530 h 5187219"/>
              <a:gd name="connsiteX53" fmla="*/ 3007995 w 9184957"/>
              <a:gd name="connsiteY53" fmla="*/ 4189285 h 5187219"/>
              <a:gd name="connsiteX54" fmla="*/ 3007995 w 9184957"/>
              <a:gd name="connsiteY54" fmla="*/ 4002786 h 5187219"/>
              <a:gd name="connsiteX55" fmla="*/ 3367088 w 9184957"/>
              <a:gd name="connsiteY55" fmla="*/ 3428143 h 5187219"/>
              <a:gd name="connsiteX56" fmla="*/ 3370136 w 9184957"/>
              <a:gd name="connsiteY56" fmla="*/ 2983325 h 5187219"/>
              <a:gd name="connsiteX57" fmla="*/ 3644360 w 9184957"/>
              <a:gd name="connsiteY57" fmla="*/ 2522791 h 5187219"/>
              <a:gd name="connsiteX58" fmla="*/ 3933254 w 9184957"/>
              <a:gd name="connsiteY58" fmla="*/ 2521744 h 5187219"/>
              <a:gd name="connsiteX59" fmla="*/ 3948017 w 9184957"/>
              <a:gd name="connsiteY59" fmla="*/ 2496883 h 5187219"/>
              <a:gd name="connsiteX60" fmla="*/ 3623691 w 9184957"/>
              <a:gd name="connsiteY60" fmla="*/ 2495645 h 5187219"/>
              <a:gd name="connsiteX61" fmla="*/ 3280791 w 9184957"/>
              <a:gd name="connsiteY61" fmla="*/ 1932908 h 5187219"/>
              <a:gd name="connsiteX62" fmla="*/ 3291364 w 9184957"/>
              <a:gd name="connsiteY62" fmla="*/ 1650492 h 5187219"/>
              <a:gd name="connsiteX63" fmla="*/ 3120676 w 9184957"/>
              <a:gd name="connsiteY63" fmla="*/ 1399889 h 5187219"/>
              <a:gd name="connsiteX64" fmla="*/ 2690432 w 9184957"/>
              <a:gd name="connsiteY64" fmla="*/ 1397603 h 5187219"/>
              <a:gd name="connsiteX65" fmla="*/ 2502408 w 9184957"/>
              <a:gd name="connsiteY65" fmla="*/ 1727358 h 5187219"/>
              <a:gd name="connsiteX66" fmla="*/ 1621060 w 9184957"/>
              <a:gd name="connsiteY66" fmla="*/ 1727358 h 5187219"/>
              <a:gd name="connsiteX67" fmla="*/ 1451229 w 9184957"/>
              <a:gd name="connsiteY67" fmla="*/ 1410843 h 5187219"/>
              <a:gd name="connsiteX68" fmla="*/ 1390650 w 9184957"/>
              <a:gd name="connsiteY68" fmla="*/ 1410843 h 5187219"/>
              <a:gd name="connsiteX69" fmla="*/ 1192149 w 9184957"/>
              <a:gd name="connsiteY69" fmla="*/ 1788128 h 5187219"/>
              <a:gd name="connsiteX70" fmla="*/ 1193292 w 9184957"/>
              <a:gd name="connsiteY70" fmla="*/ 1845278 h 5187219"/>
              <a:gd name="connsiteX71" fmla="*/ 2688717 w 9184957"/>
              <a:gd name="connsiteY71" fmla="*/ 1846135 h 5187219"/>
              <a:gd name="connsiteX72" fmla="*/ 2839688 w 9184957"/>
              <a:gd name="connsiteY72" fmla="*/ 1550003 h 5187219"/>
              <a:gd name="connsiteX73" fmla="*/ 3044190 w 9184957"/>
              <a:gd name="connsiteY73" fmla="*/ 1550003 h 5187219"/>
              <a:gd name="connsiteX74" fmla="*/ 3173254 w 9184957"/>
              <a:gd name="connsiteY74" fmla="*/ 1720120 h 5187219"/>
              <a:gd name="connsiteX75" fmla="*/ 3173254 w 9184957"/>
              <a:gd name="connsiteY75" fmla="*/ 2044922 h 5187219"/>
              <a:gd name="connsiteX76" fmla="*/ 3491865 w 9184957"/>
              <a:gd name="connsiteY76" fmla="*/ 2578703 h 5187219"/>
              <a:gd name="connsiteX77" fmla="*/ 3251740 w 9184957"/>
              <a:gd name="connsiteY77" fmla="*/ 2938939 h 5187219"/>
              <a:gd name="connsiteX78" fmla="*/ 3246025 w 9184957"/>
              <a:gd name="connsiteY78" fmla="*/ 3409188 h 5187219"/>
              <a:gd name="connsiteX79" fmla="*/ 2984754 w 9184957"/>
              <a:gd name="connsiteY79" fmla="*/ 3802570 h 5187219"/>
              <a:gd name="connsiteX80" fmla="*/ 2746629 w 9184957"/>
              <a:gd name="connsiteY80" fmla="*/ 3403187 h 5187219"/>
              <a:gd name="connsiteX81" fmla="*/ 2746629 w 9184957"/>
              <a:gd name="connsiteY81" fmla="*/ 3118866 h 5187219"/>
              <a:gd name="connsiteX82" fmla="*/ 2642712 w 9184957"/>
              <a:gd name="connsiteY82" fmla="*/ 2948654 h 5187219"/>
              <a:gd name="connsiteX83" fmla="*/ 2642712 w 9184957"/>
              <a:gd name="connsiteY83" fmla="*/ 2548604 h 5187219"/>
              <a:gd name="connsiteX84" fmla="*/ 2397443 w 9184957"/>
              <a:gd name="connsiteY84" fmla="*/ 2133219 h 5187219"/>
              <a:gd name="connsiteX85" fmla="*/ 2899791 w 9184957"/>
              <a:gd name="connsiteY85" fmla="*/ 2133219 h 5187219"/>
              <a:gd name="connsiteX86" fmla="*/ 3168015 w 9184957"/>
              <a:gd name="connsiteY86" fmla="*/ 2554986 h 5187219"/>
              <a:gd name="connsiteX87" fmla="*/ 3011138 w 9184957"/>
              <a:gd name="connsiteY87" fmla="*/ 2791968 h 5187219"/>
              <a:gd name="connsiteX88" fmla="*/ 3011138 w 9184957"/>
              <a:gd name="connsiteY88" fmla="*/ 2837021 h 5187219"/>
              <a:gd name="connsiteX89" fmla="*/ 2849213 w 9184957"/>
              <a:gd name="connsiteY89" fmla="*/ 2837021 h 5187219"/>
              <a:gd name="connsiteX90" fmla="*/ 2849213 w 9184957"/>
              <a:gd name="connsiteY90" fmla="*/ 2743200 h 5187219"/>
              <a:gd name="connsiteX91" fmla="*/ 2975039 w 9184957"/>
              <a:gd name="connsiteY91" fmla="*/ 2552700 h 5187219"/>
              <a:gd name="connsiteX92" fmla="*/ 2810923 w 9184957"/>
              <a:gd name="connsiteY92" fmla="*/ 2294668 h 5187219"/>
              <a:gd name="connsiteX93" fmla="*/ 2681288 w 9184957"/>
              <a:gd name="connsiteY93" fmla="*/ 2294668 h 5187219"/>
              <a:gd name="connsiteX94" fmla="*/ 2805113 w 9184957"/>
              <a:gd name="connsiteY94" fmla="*/ 2504218 h 5187219"/>
              <a:gd name="connsiteX95" fmla="*/ 2805113 w 9184957"/>
              <a:gd name="connsiteY95" fmla="*/ 2903410 h 5187219"/>
              <a:gd name="connsiteX96" fmla="*/ 2909030 w 9184957"/>
              <a:gd name="connsiteY96" fmla="*/ 3073622 h 5187219"/>
              <a:gd name="connsiteX97" fmla="*/ 2909030 w 9184957"/>
              <a:gd name="connsiteY97" fmla="*/ 3359372 h 5187219"/>
              <a:gd name="connsiteX98" fmla="*/ 2992470 w 9184957"/>
              <a:gd name="connsiteY98" fmla="*/ 3499485 h 5187219"/>
              <a:gd name="connsiteX99" fmla="*/ 3084671 w 9184957"/>
              <a:gd name="connsiteY99" fmla="*/ 3359753 h 5187219"/>
              <a:gd name="connsiteX100" fmla="*/ 3090482 w 9184957"/>
              <a:gd name="connsiteY100" fmla="*/ 2889313 h 5187219"/>
              <a:gd name="connsiteX101" fmla="*/ 3300508 w 9184957"/>
              <a:gd name="connsiteY101" fmla="*/ 2574322 h 5187219"/>
              <a:gd name="connsiteX102" fmla="*/ 3011329 w 9184957"/>
              <a:gd name="connsiteY102" fmla="*/ 2089308 h 5187219"/>
              <a:gd name="connsiteX103" fmla="*/ 3011329 w 9184957"/>
              <a:gd name="connsiteY103" fmla="*/ 1774317 h 5187219"/>
              <a:gd name="connsiteX104" fmla="*/ 2963704 w 9184957"/>
              <a:gd name="connsiteY104" fmla="*/ 1711642 h 5187219"/>
              <a:gd name="connsiteX105" fmla="*/ 2938748 w 9184957"/>
              <a:gd name="connsiteY105" fmla="*/ 1711642 h 5187219"/>
              <a:gd name="connsiteX106" fmla="*/ 2787396 w 9184957"/>
              <a:gd name="connsiteY106" fmla="*/ 2008251 h 5187219"/>
              <a:gd name="connsiteX107" fmla="*/ 1243489 w 9184957"/>
              <a:gd name="connsiteY107" fmla="*/ 2007203 h 5187219"/>
              <a:gd name="connsiteX108" fmla="*/ 1170908 w 9184957"/>
              <a:gd name="connsiteY108" fmla="*/ 2068544 h 5187219"/>
              <a:gd name="connsiteX109" fmla="*/ 1086993 w 9184957"/>
              <a:gd name="connsiteY109" fmla="*/ 2069973 h 5187219"/>
              <a:gd name="connsiteX110" fmla="*/ 1034606 w 9184957"/>
              <a:gd name="connsiteY110" fmla="*/ 2000631 h 5187219"/>
              <a:gd name="connsiteX111" fmla="*/ 1029367 w 9184957"/>
              <a:gd name="connsiteY111" fmla="*/ 1750028 h 5187219"/>
              <a:gd name="connsiteX112" fmla="*/ 1293400 w 9184957"/>
              <a:gd name="connsiteY112" fmla="*/ 1249299 h 5187219"/>
              <a:gd name="connsiteX113" fmla="*/ 1548194 w 9184957"/>
              <a:gd name="connsiteY113" fmla="*/ 1249299 h 5187219"/>
              <a:gd name="connsiteX114" fmla="*/ 1717929 w 9184957"/>
              <a:gd name="connsiteY114" fmla="*/ 1565815 h 5187219"/>
              <a:gd name="connsiteX115" fmla="*/ 2408301 w 9184957"/>
              <a:gd name="connsiteY115" fmla="*/ 1565815 h 5187219"/>
              <a:gd name="connsiteX116" fmla="*/ 2596706 w 9184957"/>
              <a:gd name="connsiteY116" fmla="*/ 1235488 h 5187219"/>
              <a:gd name="connsiteX117" fmla="*/ 3206306 w 9184957"/>
              <a:gd name="connsiteY117" fmla="*/ 1238821 h 5187219"/>
              <a:gd name="connsiteX118" fmla="*/ 3454908 w 9184957"/>
              <a:gd name="connsiteY118" fmla="*/ 1603724 h 5187219"/>
              <a:gd name="connsiteX119" fmla="*/ 3444145 w 9184957"/>
              <a:gd name="connsiteY119" fmla="*/ 1890617 h 5187219"/>
              <a:gd name="connsiteX120" fmla="*/ 3714750 w 9184957"/>
              <a:gd name="connsiteY120" fmla="*/ 2334101 h 5187219"/>
              <a:gd name="connsiteX121" fmla="*/ 4231672 w 9184957"/>
              <a:gd name="connsiteY121" fmla="*/ 2336006 h 5187219"/>
              <a:gd name="connsiteX122" fmla="*/ 4025741 w 9184957"/>
              <a:gd name="connsiteY122" fmla="*/ 2683478 h 5187219"/>
              <a:gd name="connsiteX123" fmla="*/ 3736562 w 9184957"/>
              <a:gd name="connsiteY123" fmla="*/ 2684621 h 5187219"/>
              <a:gd name="connsiteX124" fmla="*/ 3531775 w 9184957"/>
              <a:gd name="connsiteY124" fmla="*/ 3028569 h 5187219"/>
              <a:gd name="connsiteX125" fmla="*/ 3528727 w 9184957"/>
              <a:gd name="connsiteY125" fmla="*/ 3475291 h 5187219"/>
              <a:gd name="connsiteX126" fmla="*/ 3169920 w 9184957"/>
              <a:gd name="connsiteY126" fmla="*/ 4049268 h 5187219"/>
              <a:gd name="connsiteX127" fmla="*/ 3169920 w 9184957"/>
              <a:gd name="connsiteY127" fmla="*/ 4234148 h 5187219"/>
              <a:gd name="connsiteX128" fmla="*/ 3056763 w 9184957"/>
              <a:gd name="connsiteY128" fmla="*/ 4421124 h 5187219"/>
              <a:gd name="connsiteX129" fmla="*/ 2914650 w 9184957"/>
              <a:gd name="connsiteY129" fmla="*/ 4421124 h 5187219"/>
              <a:gd name="connsiteX130" fmla="*/ 2746724 w 9184957"/>
              <a:gd name="connsiteY130" fmla="*/ 4202049 h 5187219"/>
              <a:gd name="connsiteX131" fmla="*/ 2746724 w 9184957"/>
              <a:gd name="connsiteY131" fmla="*/ 3940778 h 5187219"/>
              <a:gd name="connsiteX132" fmla="*/ 2494217 w 9184957"/>
              <a:gd name="connsiteY132" fmla="*/ 3518440 h 5187219"/>
              <a:gd name="connsiteX133" fmla="*/ 2494217 w 9184957"/>
              <a:gd name="connsiteY133" fmla="*/ 3271361 h 5187219"/>
              <a:gd name="connsiteX134" fmla="*/ 2353532 w 9184957"/>
              <a:gd name="connsiteY134" fmla="*/ 3029902 h 5187219"/>
              <a:gd name="connsiteX135" fmla="*/ 2353532 w 9184957"/>
              <a:gd name="connsiteY135" fmla="*/ 2622994 h 5187219"/>
              <a:gd name="connsiteX136" fmla="*/ 2177320 w 9184957"/>
              <a:gd name="connsiteY136" fmla="*/ 2302478 h 5187219"/>
              <a:gd name="connsiteX137" fmla="*/ 1388269 w 9184957"/>
              <a:gd name="connsiteY137" fmla="*/ 2302478 h 5187219"/>
              <a:gd name="connsiteX138" fmla="*/ 1284827 w 9184957"/>
              <a:gd name="connsiteY138" fmla="*/ 2437733 h 5187219"/>
              <a:gd name="connsiteX139" fmla="*/ 997744 w 9184957"/>
              <a:gd name="connsiteY139" fmla="*/ 2437733 h 5187219"/>
              <a:gd name="connsiteX140" fmla="*/ 752475 w 9184957"/>
              <a:gd name="connsiteY140" fmla="*/ 2083403 h 5187219"/>
              <a:gd name="connsiteX141" fmla="*/ 742950 w 9184957"/>
              <a:gd name="connsiteY141" fmla="*/ 1645253 h 5187219"/>
              <a:gd name="connsiteX142" fmla="*/ 1129475 w 9184957"/>
              <a:gd name="connsiteY142" fmla="*/ 960501 h 5187219"/>
              <a:gd name="connsiteX143" fmla="*/ 1679639 w 9184957"/>
              <a:gd name="connsiteY143" fmla="*/ 960501 h 5187219"/>
              <a:gd name="connsiteX144" fmla="*/ 1882521 w 9184957"/>
              <a:gd name="connsiteY144" fmla="*/ 1307306 h 5187219"/>
              <a:gd name="connsiteX145" fmla="*/ 2262569 w 9184957"/>
              <a:gd name="connsiteY145" fmla="*/ 1307306 h 5187219"/>
              <a:gd name="connsiteX146" fmla="*/ 2447354 w 9184957"/>
              <a:gd name="connsiteY146" fmla="*/ 970026 h 5187219"/>
              <a:gd name="connsiteX147" fmla="*/ 3316034 w 9184957"/>
              <a:gd name="connsiteY147" fmla="*/ 970026 h 5187219"/>
              <a:gd name="connsiteX148" fmla="*/ 3704082 w 9184957"/>
              <a:gd name="connsiteY148" fmla="*/ 1506474 h 5187219"/>
              <a:gd name="connsiteX149" fmla="*/ 3704082 w 9184957"/>
              <a:gd name="connsiteY149" fmla="*/ 1831943 h 5187219"/>
              <a:gd name="connsiteX150" fmla="*/ 3863054 w 9184957"/>
              <a:gd name="connsiteY150" fmla="*/ 2105120 h 5187219"/>
              <a:gd name="connsiteX151" fmla="*/ 4637056 w 9184957"/>
              <a:gd name="connsiteY151" fmla="*/ 2105120 h 5187219"/>
              <a:gd name="connsiteX152" fmla="*/ 4174331 w 9184957"/>
              <a:gd name="connsiteY152" fmla="*/ 2914745 h 5187219"/>
              <a:gd name="connsiteX153" fmla="*/ 3947160 w 9184957"/>
              <a:gd name="connsiteY153" fmla="*/ 2912078 h 5187219"/>
              <a:gd name="connsiteX154" fmla="*/ 3796570 w 9184957"/>
              <a:gd name="connsiteY154" fmla="*/ 3150203 h 5187219"/>
              <a:gd name="connsiteX155" fmla="*/ 3796570 w 9184957"/>
              <a:gd name="connsiteY155" fmla="*/ 3555968 h 5187219"/>
              <a:gd name="connsiteX156" fmla="*/ 3410522 w 9184957"/>
              <a:gd name="connsiteY156" fmla="*/ 4160806 h 5187219"/>
              <a:gd name="connsiteX157" fmla="*/ 3410522 w 9184957"/>
              <a:gd name="connsiteY157" fmla="*/ 4377023 h 5187219"/>
              <a:gd name="connsiteX158" fmla="*/ 3202781 w 9184957"/>
              <a:gd name="connsiteY158" fmla="*/ 4722590 h 5187219"/>
              <a:gd name="connsiteX159" fmla="*/ 2772823 w 9184957"/>
              <a:gd name="connsiteY159" fmla="*/ 4719923 h 5187219"/>
              <a:gd name="connsiteX160" fmla="*/ 2463070 w 9184957"/>
              <a:gd name="connsiteY160" fmla="*/ 4355306 h 5187219"/>
              <a:gd name="connsiteX161" fmla="*/ 2463070 w 9184957"/>
              <a:gd name="connsiteY161" fmla="*/ 4005548 h 5187219"/>
              <a:gd name="connsiteX162" fmla="*/ 2227326 w 9184957"/>
              <a:gd name="connsiteY162" fmla="*/ 3576923 h 5187219"/>
              <a:gd name="connsiteX163" fmla="*/ 2228088 w 9184957"/>
              <a:gd name="connsiteY163" fmla="*/ 3318986 h 5187219"/>
              <a:gd name="connsiteX164" fmla="*/ 2087880 w 9184957"/>
              <a:gd name="connsiteY164" fmla="*/ 3074956 h 5187219"/>
              <a:gd name="connsiteX165" fmla="*/ 2087880 w 9184957"/>
              <a:gd name="connsiteY165" fmla="*/ 2679668 h 5187219"/>
              <a:gd name="connsiteX166" fmla="*/ 2047970 w 9184957"/>
              <a:gd name="connsiteY166" fmla="*/ 2608231 h 5187219"/>
              <a:gd name="connsiteX167" fmla="*/ 1494282 w 9184957"/>
              <a:gd name="connsiteY167" fmla="*/ 2608231 h 5187219"/>
              <a:gd name="connsiteX168" fmla="*/ 1432179 w 9184957"/>
              <a:gd name="connsiteY168" fmla="*/ 2715768 h 5187219"/>
              <a:gd name="connsiteX169" fmla="*/ 835724 w 9184957"/>
              <a:gd name="connsiteY169" fmla="*/ 2715768 h 5187219"/>
              <a:gd name="connsiteX170" fmla="*/ 484442 w 9184957"/>
              <a:gd name="connsiteY170" fmla="*/ 2170081 h 5187219"/>
              <a:gd name="connsiteX171" fmla="*/ 484442 w 9184957"/>
              <a:gd name="connsiteY171" fmla="*/ 1552384 h 5187219"/>
              <a:gd name="connsiteX172" fmla="*/ 997077 w 9184957"/>
              <a:gd name="connsiteY172" fmla="*/ 691420 h 5187219"/>
              <a:gd name="connsiteX173" fmla="*/ 1845850 w 9184957"/>
              <a:gd name="connsiteY173" fmla="*/ 691420 h 5187219"/>
              <a:gd name="connsiteX174" fmla="*/ 2021967 w 9184957"/>
              <a:gd name="connsiteY174" fmla="*/ 981837 h 5187219"/>
              <a:gd name="connsiteX175" fmla="*/ 2123408 w 9184957"/>
              <a:gd name="connsiteY175" fmla="*/ 981170 h 5187219"/>
              <a:gd name="connsiteX176" fmla="*/ 2282476 w 9184957"/>
              <a:gd name="connsiteY176" fmla="*/ 691420 h 5187219"/>
              <a:gd name="connsiteX177" fmla="*/ 7313962 w 9184957"/>
              <a:gd name="connsiteY177" fmla="*/ 691420 h 5187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</a:cxnLst>
            <a:rect l="l" t="t" r="r" b="b"/>
            <a:pathLst>
              <a:path w="9184957" h="5187219">
                <a:moveTo>
                  <a:pt x="0" y="0"/>
                </a:moveTo>
                <a:lnTo>
                  <a:pt x="0" y="5187220"/>
                </a:lnTo>
                <a:lnTo>
                  <a:pt x="9184957" y="5187220"/>
                </a:lnTo>
                <a:lnTo>
                  <a:pt x="9184957" y="0"/>
                </a:lnTo>
                <a:close/>
                <a:moveTo>
                  <a:pt x="7313962" y="853345"/>
                </a:moveTo>
                <a:lnTo>
                  <a:pt x="2378297" y="853345"/>
                </a:lnTo>
                <a:lnTo>
                  <a:pt x="2219325" y="1142524"/>
                </a:lnTo>
                <a:lnTo>
                  <a:pt x="1930908" y="1144429"/>
                </a:lnTo>
                <a:lnTo>
                  <a:pt x="1754600" y="853345"/>
                </a:lnTo>
                <a:lnTo>
                  <a:pt x="1089089" y="853345"/>
                </a:lnTo>
                <a:lnTo>
                  <a:pt x="646367" y="1596961"/>
                </a:lnTo>
                <a:lnTo>
                  <a:pt x="646367" y="2122456"/>
                </a:lnTo>
                <a:lnTo>
                  <a:pt x="923925" y="2553938"/>
                </a:lnTo>
                <a:lnTo>
                  <a:pt x="1338644" y="2553938"/>
                </a:lnTo>
                <a:lnTo>
                  <a:pt x="1400651" y="2446401"/>
                </a:lnTo>
                <a:lnTo>
                  <a:pt x="2143125" y="2446401"/>
                </a:lnTo>
                <a:lnTo>
                  <a:pt x="2249996" y="2637568"/>
                </a:lnTo>
                <a:lnTo>
                  <a:pt x="2249996" y="3031807"/>
                </a:lnTo>
                <a:lnTo>
                  <a:pt x="2390299" y="3276124"/>
                </a:lnTo>
                <a:lnTo>
                  <a:pt x="2389537" y="3535680"/>
                </a:lnTo>
                <a:lnTo>
                  <a:pt x="2625185" y="3964305"/>
                </a:lnTo>
                <a:lnTo>
                  <a:pt x="2625185" y="4296251"/>
                </a:lnTo>
                <a:lnTo>
                  <a:pt x="2847975" y="4558475"/>
                </a:lnTo>
                <a:lnTo>
                  <a:pt x="3111341" y="4560094"/>
                </a:lnTo>
                <a:lnTo>
                  <a:pt x="3248406" y="4332065"/>
                </a:lnTo>
                <a:lnTo>
                  <a:pt x="3248406" y="4113562"/>
                </a:lnTo>
                <a:lnTo>
                  <a:pt x="3634454" y="3508438"/>
                </a:lnTo>
                <a:lnTo>
                  <a:pt x="3634454" y="3102578"/>
                </a:lnTo>
                <a:lnTo>
                  <a:pt x="3858482" y="2749201"/>
                </a:lnTo>
                <a:lnTo>
                  <a:pt x="4080224" y="2751582"/>
                </a:lnTo>
                <a:lnTo>
                  <a:pt x="4357212" y="2267140"/>
                </a:lnTo>
                <a:lnTo>
                  <a:pt x="3769328" y="2267140"/>
                </a:lnTo>
                <a:lnTo>
                  <a:pt x="3541490" y="1875663"/>
                </a:lnTo>
                <a:lnTo>
                  <a:pt x="3541967" y="1558861"/>
                </a:lnTo>
                <a:lnTo>
                  <a:pt x="3233071" y="1132046"/>
                </a:lnTo>
                <a:lnTo>
                  <a:pt x="2543175" y="1132046"/>
                </a:lnTo>
                <a:lnTo>
                  <a:pt x="2358390" y="1469326"/>
                </a:lnTo>
                <a:lnTo>
                  <a:pt x="1789462" y="1469326"/>
                </a:lnTo>
                <a:lnTo>
                  <a:pt x="1586579" y="1122521"/>
                </a:lnTo>
                <a:lnTo>
                  <a:pt x="1223772" y="1122521"/>
                </a:lnTo>
                <a:lnTo>
                  <a:pt x="905637" y="1686211"/>
                </a:lnTo>
                <a:lnTo>
                  <a:pt x="912876" y="2030920"/>
                </a:lnTo>
                <a:lnTo>
                  <a:pt x="1082516" y="2275522"/>
                </a:lnTo>
                <a:lnTo>
                  <a:pt x="1204913" y="2275522"/>
                </a:lnTo>
                <a:lnTo>
                  <a:pt x="1308259" y="2140553"/>
                </a:lnTo>
                <a:lnTo>
                  <a:pt x="2273141" y="2140553"/>
                </a:lnTo>
                <a:lnTo>
                  <a:pt x="2515172" y="2581370"/>
                </a:lnTo>
                <a:lnTo>
                  <a:pt x="2515172" y="2986087"/>
                </a:lnTo>
                <a:lnTo>
                  <a:pt x="2655856" y="3227546"/>
                </a:lnTo>
                <a:lnTo>
                  <a:pt x="2655856" y="3474053"/>
                </a:lnTo>
                <a:lnTo>
                  <a:pt x="2908364" y="3896487"/>
                </a:lnTo>
                <a:lnTo>
                  <a:pt x="2908364" y="4147566"/>
                </a:lnTo>
                <a:lnTo>
                  <a:pt x="2978182" y="4238530"/>
                </a:lnTo>
                <a:lnTo>
                  <a:pt x="3007995" y="4189285"/>
                </a:lnTo>
                <a:lnTo>
                  <a:pt x="3007995" y="4002786"/>
                </a:lnTo>
                <a:lnTo>
                  <a:pt x="3367088" y="3428143"/>
                </a:lnTo>
                <a:lnTo>
                  <a:pt x="3370136" y="2983325"/>
                </a:lnTo>
                <a:lnTo>
                  <a:pt x="3644360" y="2522791"/>
                </a:lnTo>
                <a:lnTo>
                  <a:pt x="3933254" y="2521744"/>
                </a:lnTo>
                <a:lnTo>
                  <a:pt x="3948017" y="2496883"/>
                </a:lnTo>
                <a:lnTo>
                  <a:pt x="3623691" y="2495645"/>
                </a:lnTo>
                <a:lnTo>
                  <a:pt x="3280791" y="1932908"/>
                </a:lnTo>
                <a:lnTo>
                  <a:pt x="3291364" y="1650492"/>
                </a:lnTo>
                <a:lnTo>
                  <a:pt x="3120676" y="1399889"/>
                </a:lnTo>
                <a:lnTo>
                  <a:pt x="2690432" y="1397603"/>
                </a:lnTo>
                <a:lnTo>
                  <a:pt x="2502408" y="1727358"/>
                </a:lnTo>
                <a:lnTo>
                  <a:pt x="1621060" y="1727358"/>
                </a:lnTo>
                <a:lnTo>
                  <a:pt x="1451229" y="1410843"/>
                </a:lnTo>
                <a:lnTo>
                  <a:pt x="1390650" y="1410843"/>
                </a:lnTo>
                <a:lnTo>
                  <a:pt x="1192149" y="1788128"/>
                </a:lnTo>
                <a:lnTo>
                  <a:pt x="1193292" y="1845278"/>
                </a:lnTo>
                <a:lnTo>
                  <a:pt x="2688717" y="1846135"/>
                </a:lnTo>
                <a:lnTo>
                  <a:pt x="2839688" y="1550003"/>
                </a:lnTo>
                <a:lnTo>
                  <a:pt x="3044190" y="1550003"/>
                </a:lnTo>
                <a:lnTo>
                  <a:pt x="3173254" y="1720120"/>
                </a:lnTo>
                <a:lnTo>
                  <a:pt x="3173254" y="2044922"/>
                </a:lnTo>
                <a:lnTo>
                  <a:pt x="3491865" y="2578703"/>
                </a:lnTo>
                <a:lnTo>
                  <a:pt x="3251740" y="2938939"/>
                </a:lnTo>
                <a:lnTo>
                  <a:pt x="3246025" y="3409188"/>
                </a:lnTo>
                <a:lnTo>
                  <a:pt x="2984754" y="3802570"/>
                </a:lnTo>
                <a:lnTo>
                  <a:pt x="2746629" y="3403187"/>
                </a:lnTo>
                <a:lnTo>
                  <a:pt x="2746629" y="3118866"/>
                </a:lnTo>
                <a:lnTo>
                  <a:pt x="2642712" y="2948654"/>
                </a:lnTo>
                <a:lnTo>
                  <a:pt x="2642712" y="2548604"/>
                </a:lnTo>
                <a:lnTo>
                  <a:pt x="2397443" y="2133219"/>
                </a:lnTo>
                <a:lnTo>
                  <a:pt x="2899791" y="2133219"/>
                </a:lnTo>
                <a:lnTo>
                  <a:pt x="3168015" y="2554986"/>
                </a:lnTo>
                <a:lnTo>
                  <a:pt x="3011138" y="2791968"/>
                </a:lnTo>
                <a:lnTo>
                  <a:pt x="3011138" y="2837021"/>
                </a:lnTo>
                <a:lnTo>
                  <a:pt x="2849213" y="2837021"/>
                </a:lnTo>
                <a:lnTo>
                  <a:pt x="2849213" y="2743200"/>
                </a:lnTo>
                <a:lnTo>
                  <a:pt x="2975039" y="2552700"/>
                </a:lnTo>
                <a:lnTo>
                  <a:pt x="2810923" y="2294668"/>
                </a:lnTo>
                <a:lnTo>
                  <a:pt x="2681288" y="2294668"/>
                </a:lnTo>
                <a:lnTo>
                  <a:pt x="2805113" y="2504218"/>
                </a:lnTo>
                <a:lnTo>
                  <a:pt x="2805113" y="2903410"/>
                </a:lnTo>
                <a:lnTo>
                  <a:pt x="2909030" y="3073622"/>
                </a:lnTo>
                <a:lnTo>
                  <a:pt x="2909030" y="3359372"/>
                </a:lnTo>
                <a:lnTo>
                  <a:pt x="2992470" y="3499485"/>
                </a:lnTo>
                <a:lnTo>
                  <a:pt x="3084671" y="3359753"/>
                </a:lnTo>
                <a:lnTo>
                  <a:pt x="3090482" y="2889313"/>
                </a:lnTo>
                <a:lnTo>
                  <a:pt x="3300508" y="2574322"/>
                </a:lnTo>
                <a:lnTo>
                  <a:pt x="3011329" y="2089308"/>
                </a:lnTo>
                <a:lnTo>
                  <a:pt x="3011329" y="1774317"/>
                </a:lnTo>
                <a:lnTo>
                  <a:pt x="2963704" y="1711642"/>
                </a:lnTo>
                <a:lnTo>
                  <a:pt x="2938748" y="1711642"/>
                </a:lnTo>
                <a:lnTo>
                  <a:pt x="2787396" y="2008251"/>
                </a:lnTo>
                <a:lnTo>
                  <a:pt x="1243489" y="2007203"/>
                </a:lnTo>
                <a:lnTo>
                  <a:pt x="1170908" y="2068544"/>
                </a:lnTo>
                <a:lnTo>
                  <a:pt x="1086993" y="2069973"/>
                </a:lnTo>
                <a:lnTo>
                  <a:pt x="1034606" y="2000631"/>
                </a:lnTo>
                <a:lnTo>
                  <a:pt x="1029367" y="1750028"/>
                </a:lnTo>
                <a:lnTo>
                  <a:pt x="1293400" y="1249299"/>
                </a:lnTo>
                <a:lnTo>
                  <a:pt x="1548194" y="1249299"/>
                </a:lnTo>
                <a:lnTo>
                  <a:pt x="1717929" y="1565815"/>
                </a:lnTo>
                <a:lnTo>
                  <a:pt x="2408301" y="1565815"/>
                </a:lnTo>
                <a:lnTo>
                  <a:pt x="2596706" y="1235488"/>
                </a:lnTo>
                <a:lnTo>
                  <a:pt x="3206306" y="1238821"/>
                </a:lnTo>
                <a:lnTo>
                  <a:pt x="3454908" y="1603724"/>
                </a:lnTo>
                <a:lnTo>
                  <a:pt x="3444145" y="1890617"/>
                </a:lnTo>
                <a:lnTo>
                  <a:pt x="3714750" y="2334101"/>
                </a:lnTo>
                <a:lnTo>
                  <a:pt x="4231672" y="2336006"/>
                </a:lnTo>
                <a:lnTo>
                  <a:pt x="4025741" y="2683478"/>
                </a:lnTo>
                <a:lnTo>
                  <a:pt x="3736562" y="2684621"/>
                </a:lnTo>
                <a:lnTo>
                  <a:pt x="3531775" y="3028569"/>
                </a:lnTo>
                <a:lnTo>
                  <a:pt x="3528727" y="3475291"/>
                </a:lnTo>
                <a:lnTo>
                  <a:pt x="3169920" y="4049268"/>
                </a:lnTo>
                <a:lnTo>
                  <a:pt x="3169920" y="4234148"/>
                </a:lnTo>
                <a:lnTo>
                  <a:pt x="3056763" y="4421124"/>
                </a:lnTo>
                <a:lnTo>
                  <a:pt x="2914650" y="4421124"/>
                </a:lnTo>
                <a:lnTo>
                  <a:pt x="2746724" y="4202049"/>
                </a:lnTo>
                <a:lnTo>
                  <a:pt x="2746724" y="3940778"/>
                </a:lnTo>
                <a:lnTo>
                  <a:pt x="2494217" y="3518440"/>
                </a:lnTo>
                <a:lnTo>
                  <a:pt x="2494217" y="3271361"/>
                </a:lnTo>
                <a:lnTo>
                  <a:pt x="2353532" y="3029902"/>
                </a:lnTo>
                <a:lnTo>
                  <a:pt x="2353532" y="2622994"/>
                </a:lnTo>
                <a:lnTo>
                  <a:pt x="2177320" y="2302478"/>
                </a:lnTo>
                <a:lnTo>
                  <a:pt x="1388269" y="2302478"/>
                </a:lnTo>
                <a:lnTo>
                  <a:pt x="1284827" y="2437733"/>
                </a:lnTo>
                <a:lnTo>
                  <a:pt x="997744" y="2437733"/>
                </a:lnTo>
                <a:lnTo>
                  <a:pt x="752475" y="2083403"/>
                </a:lnTo>
                <a:lnTo>
                  <a:pt x="742950" y="1645253"/>
                </a:lnTo>
                <a:lnTo>
                  <a:pt x="1129475" y="960501"/>
                </a:lnTo>
                <a:lnTo>
                  <a:pt x="1679639" y="960501"/>
                </a:lnTo>
                <a:lnTo>
                  <a:pt x="1882521" y="1307306"/>
                </a:lnTo>
                <a:lnTo>
                  <a:pt x="2262569" y="1307306"/>
                </a:lnTo>
                <a:lnTo>
                  <a:pt x="2447354" y="970026"/>
                </a:lnTo>
                <a:lnTo>
                  <a:pt x="3316034" y="970026"/>
                </a:lnTo>
                <a:lnTo>
                  <a:pt x="3704082" y="1506474"/>
                </a:lnTo>
                <a:lnTo>
                  <a:pt x="3704082" y="1831943"/>
                </a:lnTo>
                <a:lnTo>
                  <a:pt x="3863054" y="2105120"/>
                </a:lnTo>
                <a:lnTo>
                  <a:pt x="4637056" y="2105120"/>
                </a:lnTo>
                <a:lnTo>
                  <a:pt x="4174331" y="2914745"/>
                </a:lnTo>
                <a:lnTo>
                  <a:pt x="3947160" y="2912078"/>
                </a:lnTo>
                <a:lnTo>
                  <a:pt x="3796570" y="3150203"/>
                </a:lnTo>
                <a:lnTo>
                  <a:pt x="3796570" y="3555968"/>
                </a:lnTo>
                <a:lnTo>
                  <a:pt x="3410522" y="4160806"/>
                </a:lnTo>
                <a:lnTo>
                  <a:pt x="3410522" y="4377023"/>
                </a:lnTo>
                <a:lnTo>
                  <a:pt x="3202781" y="4722590"/>
                </a:lnTo>
                <a:lnTo>
                  <a:pt x="2772823" y="4719923"/>
                </a:lnTo>
                <a:lnTo>
                  <a:pt x="2463070" y="4355306"/>
                </a:lnTo>
                <a:lnTo>
                  <a:pt x="2463070" y="4005548"/>
                </a:lnTo>
                <a:lnTo>
                  <a:pt x="2227326" y="3576923"/>
                </a:lnTo>
                <a:lnTo>
                  <a:pt x="2228088" y="3318986"/>
                </a:lnTo>
                <a:lnTo>
                  <a:pt x="2087880" y="3074956"/>
                </a:lnTo>
                <a:lnTo>
                  <a:pt x="2087880" y="2679668"/>
                </a:lnTo>
                <a:lnTo>
                  <a:pt x="2047970" y="2608231"/>
                </a:lnTo>
                <a:lnTo>
                  <a:pt x="1494282" y="2608231"/>
                </a:lnTo>
                <a:lnTo>
                  <a:pt x="1432179" y="2715768"/>
                </a:lnTo>
                <a:lnTo>
                  <a:pt x="835724" y="2715768"/>
                </a:lnTo>
                <a:lnTo>
                  <a:pt x="484442" y="2170081"/>
                </a:lnTo>
                <a:lnTo>
                  <a:pt x="484442" y="1552384"/>
                </a:lnTo>
                <a:lnTo>
                  <a:pt x="997077" y="691420"/>
                </a:lnTo>
                <a:lnTo>
                  <a:pt x="1845850" y="691420"/>
                </a:lnTo>
                <a:lnTo>
                  <a:pt x="2021967" y="981837"/>
                </a:lnTo>
                <a:lnTo>
                  <a:pt x="2123408" y="981170"/>
                </a:lnTo>
                <a:lnTo>
                  <a:pt x="2282476" y="691420"/>
                </a:lnTo>
                <a:lnTo>
                  <a:pt x="7313962" y="691420"/>
                </a:lnTo>
                <a:close/>
              </a:path>
            </a:pathLst>
          </a:custGeom>
          <a:solidFill>
            <a:schemeClr val="tx1">
              <a:alpha val="59499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9" name="Title 520">
            <a:extLst>
              <a:ext uri="{FF2B5EF4-FFF2-40B4-BE49-F238E27FC236}">
                <a16:creationId xmlns:a16="http://schemas.microsoft.com/office/drawing/2014/main" id="{5B4F7F9B-D2FA-5CC1-9CAE-52E03FB09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5771" y="1155310"/>
            <a:ext cx="4363624" cy="875371"/>
          </a:xfrm>
        </p:spPr>
        <p:txBody>
          <a:bodyPr/>
          <a:lstStyle/>
          <a:p>
            <a:pPr algn="r"/>
            <a:r>
              <a:rPr lang="en-US" sz="4000">
                <a:solidFill>
                  <a:schemeClr val="bg1"/>
                </a:solidFill>
              </a:rPr>
              <a:t>Thank you</a:t>
            </a:r>
            <a:endParaRPr lang="en-US" sz="4000"/>
          </a:p>
        </p:txBody>
      </p: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86CB910-7EB6-DA28-6C7E-C2A393051A75}"/>
              </a:ext>
            </a:extLst>
          </p:cNvPr>
          <p:cNvGrpSpPr/>
          <p:nvPr/>
        </p:nvGrpSpPr>
        <p:grpSpPr>
          <a:xfrm>
            <a:off x="10366157" y="571622"/>
            <a:ext cx="1394705" cy="948396"/>
            <a:chOff x="10366157" y="302263"/>
            <a:chExt cx="1394705" cy="948396"/>
          </a:xfrm>
        </p:grpSpPr>
        <p:sp>
          <p:nvSpPr>
            <p:cNvPr id="171" name="object 28">
              <a:extLst>
                <a:ext uri="{FF2B5EF4-FFF2-40B4-BE49-F238E27FC236}">
                  <a16:creationId xmlns:a16="http://schemas.microsoft.com/office/drawing/2014/main" id="{C4275BAE-D3F8-2B1B-5B74-B57C95E8A424}"/>
                </a:ext>
              </a:extLst>
            </p:cNvPr>
            <p:cNvSpPr/>
            <p:nvPr/>
          </p:nvSpPr>
          <p:spPr>
            <a:xfrm>
              <a:off x="10366157" y="638781"/>
              <a:ext cx="370938" cy="2141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"/>
                  </a:lnTo>
                  <a:lnTo>
                    <a:pt x="7201" y="21600"/>
                  </a:lnTo>
                  <a:lnTo>
                    <a:pt x="1440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85BD3E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sp>
          <p:nvSpPr>
            <p:cNvPr id="172" name="object 29">
              <a:extLst>
                <a:ext uri="{FF2B5EF4-FFF2-40B4-BE49-F238E27FC236}">
                  <a16:creationId xmlns:a16="http://schemas.microsoft.com/office/drawing/2014/main" id="{89ABC2F3-BE30-EAB2-AC94-08EC471D47ED}"/>
                </a:ext>
              </a:extLst>
            </p:cNvPr>
            <p:cNvSpPr/>
            <p:nvPr/>
          </p:nvSpPr>
          <p:spPr>
            <a:xfrm>
              <a:off x="10595698" y="638779"/>
              <a:ext cx="706747" cy="6118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818" y="0"/>
                  </a:moveTo>
                  <a:lnTo>
                    <a:pt x="7021" y="1"/>
                  </a:lnTo>
                  <a:lnTo>
                    <a:pt x="0" y="14036"/>
                  </a:lnTo>
                  <a:lnTo>
                    <a:pt x="3782" y="21600"/>
                  </a:lnTo>
                  <a:lnTo>
                    <a:pt x="10800" y="7560"/>
                  </a:lnTo>
                  <a:lnTo>
                    <a:pt x="21600" y="7560"/>
                  </a:lnTo>
                  <a:lnTo>
                    <a:pt x="17818" y="0"/>
                  </a:lnTo>
                  <a:close/>
                </a:path>
              </a:pathLst>
            </a:custGeom>
            <a:solidFill>
              <a:srgbClr val="E63023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457200">
                <a:defRPr sz="1000">
                  <a:latin typeface="Tahoma"/>
                  <a:ea typeface="Tahoma"/>
                  <a:cs typeface="Tahoma"/>
                  <a:sym typeface="Tahoma"/>
                </a:defRPr>
              </a:pPr>
              <a:endParaRPr/>
            </a:p>
          </p:txBody>
        </p:sp>
        <p:grpSp>
          <p:nvGrpSpPr>
            <p:cNvPr id="173" name="object 30">
              <a:extLst>
                <a:ext uri="{FF2B5EF4-FFF2-40B4-BE49-F238E27FC236}">
                  <a16:creationId xmlns:a16="http://schemas.microsoft.com/office/drawing/2014/main" id="{47796B55-483E-551F-F4E8-62C119887CCA}"/>
                </a:ext>
              </a:extLst>
            </p:cNvPr>
            <p:cNvGrpSpPr/>
            <p:nvPr/>
          </p:nvGrpSpPr>
          <p:grpSpPr>
            <a:xfrm>
              <a:off x="10674915" y="302263"/>
              <a:ext cx="1085947" cy="122368"/>
              <a:chOff x="-1" y="-1"/>
              <a:chExt cx="1085945" cy="122366"/>
            </a:xfrm>
          </p:grpSpPr>
          <p:sp>
            <p:nvSpPr>
              <p:cNvPr id="174" name="Shape">
                <a:extLst>
                  <a:ext uri="{FF2B5EF4-FFF2-40B4-BE49-F238E27FC236}">
                    <a16:creationId xmlns:a16="http://schemas.microsoft.com/office/drawing/2014/main" id="{366D1129-9C0A-EEDF-B00E-73BF8B73B2CC}"/>
                  </a:ext>
                </a:extLst>
              </p:cNvPr>
              <p:cNvSpPr/>
              <p:nvPr/>
            </p:nvSpPr>
            <p:spPr>
              <a:xfrm>
                <a:off x="126364" y="0"/>
                <a:ext cx="106113" cy="1223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785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229" y="21600"/>
                    </a:lnTo>
                    <a:lnTo>
                      <a:pt x="6229" y="13166"/>
                    </a:lnTo>
                    <a:lnTo>
                      <a:pt x="19299" y="13166"/>
                    </a:lnTo>
                    <a:lnTo>
                      <a:pt x="18631" y="12161"/>
                    </a:lnTo>
                    <a:lnTo>
                      <a:pt x="19931" y="11209"/>
                    </a:lnTo>
                    <a:lnTo>
                      <a:pt x="20931" y="10011"/>
                    </a:lnTo>
                    <a:lnTo>
                      <a:pt x="21573" y="8618"/>
                    </a:lnTo>
                    <a:lnTo>
                      <a:pt x="21600" y="8438"/>
                    </a:lnTo>
                    <a:lnTo>
                      <a:pt x="6229" y="8438"/>
                    </a:lnTo>
                    <a:lnTo>
                      <a:pt x="6229" y="4726"/>
                    </a:lnTo>
                    <a:lnTo>
                      <a:pt x="21473" y="4726"/>
                    </a:lnTo>
                    <a:lnTo>
                      <a:pt x="21240" y="3716"/>
                    </a:lnTo>
                    <a:lnTo>
                      <a:pt x="19741" y="1782"/>
                    </a:lnTo>
                    <a:lnTo>
                      <a:pt x="17515" y="478"/>
                    </a:lnTo>
                    <a:lnTo>
                      <a:pt x="14785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75" name="Shape">
                <a:extLst>
                  <a:ext uri="{FF2B5EF4-FFF2-40B4-BE49-F238E27FC236}">
                    <a16:creationId xmlns:a16="http://schemas.microsoft.com/office/drawing/2014/main" id="{AEBD4148-9FFD-8C63-B6B7-40C63E6382A2}"/>
                  </a:ext>
                </a:extLst>
              </p:cNvPr>
              <p:cNvSpPr/>
              <p:nvPr/>
            </p:nvSpPr>
            <p:spPr>
              <a:xfrm>
                <a:off x="190118" y="74581"/>
                <a:ext cx="58626" cy="477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441" y="0"/>
                    </a:moveTo>
                    <a:lnTo>
                      <a:pt x="0" y="0"/>
                    </a:lnTo>
                    <a:lnTo>
                      <a:pt x="10166" y="21600"/>
                    </a:lnTo>
                    <a:lnTo>
                      <a:pt x="21600" y="21600"/>
                    </a:lnTo>
                    <a:lnTo>
                      <a:pt x="11441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76" name="Shape">
                <a:extLst>
                  <a:ext uri="{FF2B5EF4-FFF2-40B4-BE49-F238E27FC236}">
                    <a16:creationId xmlns:a16="http://schemas.microsoft.com/office/drawing/2014/main" id="{5D340E34-4B98-B39A-0427-7DAF81556734}"/>
                  </a:ext>
                </a:extLst>
              </p:cNvPr>
              <p:cNvSpPr/>
              <p:nvPr/>
            </p:nvSpPr>
            <p:spPr>
              <a:xfrm>
                <a:off x="248741" y="0"/>
                <a:ext cx="141120" cy="1223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478" y="0"/>
                    </a:moveTo>
                    <a:lnTo>
                      <a:pt x="9494" y="0"/>
                    </a:lnTo>
                    <a:lnTo>
                      <a:pt x="0" y="21600"/>
                    </a:lnTo>
                    <a:lnTo>
                      <a:pt x="4983" y="21600"/>
                    </a:lnTo>
                    <a:lnTo>
                      <a:pt x="7355" y="16201"/>
                    </a:lnTo>
                    <a:lnTo>
                      <a:pt x="21600" y="16201"/>
                    </a:lnTo>
                    <a:lnTo>
                      <a:pt x="19522" y="11473"/>
                    </a:lnTo>
                    <a:lnTo>
                      <a:pt x="9433" y="11473"/>
                    </a:lnTo>
                    <a:lnTo>
                      <a:pt x="11985" y="5662"/>
                    </a:lnTo>
                    <a:lnTo>
                      <a:pt x="16967" y="5662"/>
                    </a:lnTo>
                    <a:lnTo>
                      <a:pt x="14478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77" name="Shape">
                <a:extLst>
                  <a:ext uri="{FF2B5EF4-FFF2-40B4-BE49-F238E27FC236}">
                    <a16:creationId xmlns:a16="http://schemas.microsoft.com/office/drawing/2014/main" id="{D49EFE32-4989-6E0F-077E-1621CC1CF63E}"/>
                  </a:ext>
                </a:extLst>
              </p:cNvPr>
              <p:cNvSpPr/>
              <p:nvPr/>
            </p:nvSpPr>
            <p:spPr>
              <a:xfrm>
                <a:off x="357308" y="91776"/>
                <a:ext cx="48059" cy="3059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631" y="0"/>
                    </a:moveTo>
                    <a:lnTo>
                      <a:pt x="0" y="0"/>
                    </a:lnTo>
                    <a:lnTo>
                      <a:pt x="6970" y="21600"/>
                    </a:lnTo>
                    <a:lnTo>
                      <a:pt x="21600" y="21600"/>
                    </a:lnTo>
                    <a:lnTo>
                      <a:pt x="14631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78" name="Shape">
                <a:extLst>
                  <a:ext uri="{FF2B5EF4-FFF2-40B4-BE49-F238E27FC236}">
                    <a16:creationId xmlns:a16="http://schemas.microsoft.com/office/drawing/2014/main" id="{6650A60D-6476-C84B-08D3-B37EDB2F6952}"/>
                  </a:ext>
                </a:extLst>
              </p:cNvPr>
              <p:cNvSpPr/>
              <p:nvPr/>
            </p:nvSpPr>
            <p:spPr>
              <a:xfrm>
                <a:off x="199408" y="26769"/>
                <a:ext cx="34052" cy="210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582" y="0"/>
                    </a:moveTo>
                    <a:lnTo>
                      <a:pt x="0" y="0"/>
                    </a:lnTo>
                    <a:lnTo>
                      <a:pt x="2183" y="3554"/>
                    </a:lnTo>
                    <a:lnTo>
                      <a:pt x="2232" y="18065"/>
                    </a:lnTo>
                    <a:lnTo>
                      <a:pt x="36" y="21600"/>
                    </a:lnTo>
                    <a:lnTo>
                      <a:pt x="20976" y="21600"/>
                    </a:lnTo>
                    <a:lnTo>
                      <a:pt x="21600" y="13689"/>
                    </a:lnTo>
                    <a:lnTo>
                      <a:pt x="21563" y="7911"/>
                    </a:lnTo>
                    <a:lnTo>
                      <a:pt x="20582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79" name="Shape">
                <a:extLst>
                  <a:ext uri="{FF2B5EF4-FFF2-40B4-BE49-F238E27FC236}">
                    <a16:creationId xmlns:a16="http://schemas.microsoft.com/office/drawing/2014/main" id="{1E154D22-53C0-EA63-1655-A1FF7D6544BE}"/>
                  </a:ext>
                </a:extLst>
              </p:cNvPr>
              <p:cNvSpPr/>
              <p:nvPr/>
            </p:nvSpPr>
            <p:spPr>
              <a:xfrm>
                <a:off x="860477" y="0"/>
                <a:ext cx="99420" cy="1223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6872"/>
                    </a:lnTo>
                    <a:lnTo>
                      <a:pt x="6642" y="16872"/>
                    </a:lnTo>
                    <a:lnTo>
                      <a:pt x="6642" y="13163"/>
                    </a:lnTo>
                    <a:lnTo>
                      <a:pt x="20774" y="13163"/>
                    </a:lnTo>
                    <a:lnTo>
                      <a:pt x="20774" y="8435"/>
                    </a:lnTo>
                    <a:lnTo>
                      <a:pt x="6642" y="8435"/>
                    </a:lnTo>
                    <a:lnTo>
                      <a:pt x="6642" y="4724"/>
                    </a:lnTo>
                    <a:lnTo>
                      <a:pt x="21600" y="4724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80" name="Shape">
                <a:extLst>
                  <a:ext uri="{FF2B5EF4-FFF2-40B4-BE49-F238E27FC236}">
                    <a16:creationId xmlns:a16="http://schemas.microsoft.com/office/drawing/2014/main" id="{3453F9CF-22AD-6A75-55D2-CB224D3F4757}"/>
                  </a:ext>
                </a:extLst>
              </p:cNvPr>
              <p:cNvSpPr/>
              <p:nvPr/>
            </p:nvSpPr>
            <p:spPr>
              <a:xfrm>
                <a:off x="565996" y="91280"/>
                <a:ext cx="112964" cy="3085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567" y="0"/>
                    </a:moveTo>
                    <a:lnTo>
                      <a:pt x="0" y="16251"/>
                    </a:lnTo>
                    <a:lnTo>
                      <a:pt x="1542" y="18512"/>
                    </a:lnTo>
                    <a:lnTo>
                      <a:pt x="3155" y="20188"/>
                    </a:lnTo>
                    <a:lnTo>
                      <a:pt x="4833" y="21232"/>
                    </a:lnTo>
                    <a:lnTo>
                      <a:pt x="6569" y="21600"/>
                    </a:lnTo>
                    <a:lnTo>
                      <a:pt x="15330" y="21591"/>
                    </a:lnTo>
                    <a:lnTo>
                      <a:pt x="17889" y="19698"/>
                    </a:lnTo>
                    <a:lnTo>
                      <a:pt x="19976" y="14534"/>
                    </a:lnTo>
                    <a:lnTo>
                      <a:pt x="21381" y="6876"/>
                    </a:lnTo>
                    <a:lnTo>
                      <a:pt x="21600" y="2890"/>
                    </a:lnTo>
                    <a:lnTo>
                      <a:pt x="6569" y="2890"/>
                    </a:lnTo>
                    <a:lnTo>
                      <a:pt x="5519" y="2695"/>
                    </a:lnTo>
                    <a:lnTo>
                      <a:pt x="4498" y="2135"/>
                    </a:lnTo>
                    <a:lnTo>
                      <a:pt x="3512" y="1231"/>
                    </a:lnTo>
                    <a:lnTo>
                      <a:pt x="2567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81" name="Shape">
                <a:extLst>
                  <a:ext uri="{FF2B5EF4-FFF2-40B4-BE49-F238E27FC236}">
                    <a16:creationId xmlns:a16="http://schemas.microsoft.com/office/drawing/2014/main" id="{01473887-0E14-7E3E-8D9C-4DFBE4DF213C}"/>
                  </a:ext>
                </a:extLst>
              </p:cNvPr>
              <p:cNvSpPr/>
              <p:nvPr/>
            </p:nvSpPr>
            <p:spPr>
              <a:xfrm>
                <a:off x="565996" y="-2"/>
                <a:ext cx="114512" cy="9541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5119" y="0"/>
                    </a:moveTo>
                    <a:lnTo>
                      <a:pt x="6480" y="0"/>
                    </a:lnTo>
                    <a:lnTo>
                      <a:pt x="3954" y="612"/>
                    </a:lnTo>
                    <a:lnTo>
                      <a:pt x="1895" y="2280"/>
                    </a:lnTo>
                    <a:lnTo>
                      <a:pt x="508" y="4756"/>
                    </a:lnTo>
                    <a:lnTo>
                      <a:pt x="0" y="7790"/>
                    </a:lnTo>
                    <a:lnTo>
                      <a:pt x="0" y="9056"/>
                    </a:lnTo>
                    <a:lnTo>
                      <a:pt x="508" y="12090"/>
                    </a:lnTo>
                    <a:lnTo>
                      <a:pt x="1895" y="14567"/>
                    </a:lnTo>
                    <a:lnTo>
                      <a:pt x="3954" y="16237"/>
                    </a:lnTo>
                    <a:lnTo>
                      <a:pt x="6480" y="16849"/>
                    </a:lnTo>
                    <a:lnTo>
                      <a:pt x="15200" y="16849"/>
                    </a:lnTo>
                    <a:lnTo>
                      <a:pt x="15849" y="17627"/>
                    </a:lnTo>
                    <a:lnTo>
                      <a:pt x="15849" y="20817"/>
                    </a:lnTo>
                    <a:lnTo>
                      <a:pt x="15200" y="21597"/>
                    </a:lnTo>
                    <a:lnTo>
                      <a:pt x="6480" y="21600"/>
                    </a:lnTo>
                    <a:lnTo>
                      <a:pt x="21308" y="21600"/>
                    </a:lnTo>
                    <a:lnTo>
                      <a:pt x="21600" y="19856"/>
                    </a:lnTo>
                    <a:lnTo>
                      <a:pt x="21600" y="18587"/>
                    </a:lnTo>
                    <a:lnTo>
                      <a:pt x="21092" y="15556"/>
                    </a:lnTo>
                    <a:lnTo>
                      <a:pt x="19706" y="13081"/>
                    </a:lnTo>
                    <a:lnTo>
                      <a:pt x="17647" y="11412"/>
                    </a:lnTo>
                    <a:lnTo>
                      <a:pt x="15122" y="10800"/>
                    </a:lnTo>
                    <a:lnTo>
                      <a:pt x="6400" y="10800"/>
                    </a:lnTo>
                    <a:lnTo>
                      <a:pt x="5748" y="10021"/>
                    </a:lnTo>
                    <a:lnTo>
                      <a:pt x="5748" y="6828"/>
                    </a:lnTo>
                    <a:lnTo>
                      <a:pt x="6400" y="6049"/>
                    </a:lnTo>
                    <a:lnTo>
                      <a:pt x="18717" y="6049"/>
                    </a:lnTo>
                    <a:lnTo>
                      <a:pt x="18717" y="428"/>
                    </a:lnTo>
                    <a:lnTo>
                      <a:pt x="17876" y="239"/>
                    </a:lnTo>
                    <a:lnTo>
                      <a:pt x="16980" y="106"/>
                    </a:lnTo>
                    <a:lnTo>
                      <a:pt x="16053" y="26"/>
                    </a:lnTo>
                    <a:lnTo>
                      <a:pt x="15119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82" name="Shape">
                <a:extLst>
                  <a:ext uri="{FF2B5EF4-FFF2-40B4-BE49-F238E27FC236}">
                    <a16:creationId xmlns:a16="http://schemas.microsoft.com/office/drawing/2014/main" id="{674A7423-39E8-4EF4-A9FB-75AF935F1C4F}"/>
                  </a:ext>
                </a:extLst>
              </p:cNvPr>
              <p:cNvSpPr/>
              <p:nvPr/>
            </p:nvSpPr>
            <p:spPr>
              <a:xfrm>
                <a:off x="994337" y="0"/>
                <a:ext cx="91608" cy="1223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7216" y="21600"/>
                    </a:lnTo>
                    <a:lnTo>
                      <a:pt x="7216" y="4726"/>
                    </a:lnTo>
                    <a:lnTo>
                      <a:pt x="17951" y="4726"/>
                    </a:lnTo>
                    <a:lnTo>
                      <a:pt x="21600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83" name="Shape">
                <a:extLst>
                  <a:ext uri="{FF2B5EF4-FFF2-40B4-BE49-F238E27FC236}">
                    <a16:creationId xmlns:a16="http://schemas.microsoft.com/office/drawing/2014/main" id="{71AB49AC-44E5-185C-A43E-EE1E78ECD536}"/>
                  </a:ext>
                </a:extLst>
              </p:cNvPr>
              <p:cNvSpPr/>
              <p:nvPr/>
            </p:nvSpPr>
            <p:spPr>
              <a:xfrm>
                <a:off x="703683" y="0"/>
                <a:ext cx="64625" cy="1223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10220" y="21600"/>
                    </a:lnTo>
                    <a:lnTo>
                      <a:pt x="10220" y="7449"/>
                    </a:lnTo>
                    <a:lnTo>
                      <a:pt x="21600" y="7449"/>
                    </a:lnTo>
                    <a:lnTo>
                      <a:pt x="11504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84" name="Shape">
                <a:extLst>
                  <a:ext uri="{FF2B5EF4-FFF2-40B4-BE49-F238E27FC236}">
                    <a16:creationId xmlns:a16="http://schemas.microsoft.com/office/drawing/2014/main" id="{3708BE2F-C28B-351D-65E9-E4754DEB6D19}"/>
                  </a:ext>
                </a:extLst>
              </p:cNvPr>
              <p:cNvSpPr/>
              <p:nvPr/>
            </p:nvSpPr>
            <p:spPr>
              <a:xfrm>
                <a:off x="734258" y="42198"/>
                <a:ext cx="91805" cy="801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011" y="0"/>
                    </a:moveTo>
                    <a:lnTo>
                      <a:pt x="0" y="0"/>
                    </a:lnTo>
                    <a:lnTo>
                      <a:pt x="13499" y="21600"/>
                    </a:lnTo>
                    <a:lnTo>
                      <a:pt x="21600" y="21600"/>
                    </a:lnTo>
                    <a:lnTo>
                      <a:pt x="21600" y="10229"/>
                    </a:lnTo>
                    <a:lnTo>
                      <a:pt x="14404" y="10229"/>
                    </a:lnTo>
                    <a:lnTo>
                      <a:pt x="8011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85" name="Rectangle">
                <a:extLst>
                  <a:ext uri="{FF2B5EF4-FFF2-40B4-BE49-F238E27FC236}">
                    <a16:creationId xmlns:a16="http://schemas.microsoft.com/office/drawing/2014/main" id="{27F7D522-F49A-5DB4-C86B-3BF660B21E82}"/>
                  </a:ext>
                </a:extLst>
              </p:cNvPr>
              <p:cNvSpPr/>
              <p:nvPr/>
            </p:nvSpPr>
            <p:spPr>
              <a:xfrm>
                <a:off x="795478" y="113"/>
                <a:ext cx="30585" cy="80052"/>
              </a:xfrm>
              <a:prstGeom prst="rect">
                <a:avLst/>
              </a:pr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86" name="Rectangle">
                <a:extLst>
                  <a:ext uri="{FF2B5EF4-FFF2-40B4-BE49-F238E27FC236}">
                    <a16:creationId xmlns:a16="http://schemas.microsoft.com/office/drawing/2014/main" id="{10679318-F1CF-7ED8-8124-084F830834E3}"/>
                  </a:ext>
                </a:extLst>
              </p:cNvPr>
              <p:cNvSpPr/>
              <p:nvPr/>
            </p:nvSpPr>
            <p:spPr>
              <a:xfrm>
                <a:off x="61334" y="26769"/>
                <a:ext cx="30610" cy="95595"/>
              </a:xfrm>
              <a:prstGeom prst="rect">
                <a:avLst/>
              </a:pr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87" name="Shape">
                <a:extLst>
                  <a:ext uri="{FF2B5EF4-FFF2-40B4-BE49-F238E27FC236}">
                    <a16:creationId xmlns:a16="http://schemas.microsoft.com/office/drawing/2014/main" id="{963FF9CE-FC4B-D96E-5C71-988F250D7AB4}"/>
                  </a:ext>
                </a:extLst>
              </p:cNvPr>
              <p:cNvSpPr/>
              <p:nvPr/>
            </p:nvSpPr>
            <p:spPr>
              <a:xfrm>
                <a:off x="-2" y="-2"/>
                <a:ext cx="91946" cy="267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0" y="15"/>
                    </a:lnTo>
                    <a:lnTo>
                      <a:pt x="3633" y="21600"/>
                    </a:lnTo>
                    <a:lnTo>
                      <a:pt x="21600" y="2159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88" name="Shape">
                <a:extLst>
                  <a:ext uri="{FF2B5EF4-FFF2-40B4-BE49-F238E27FC236}">
                    <a16:creationId xmlns:a16="http://schemas.microsoft.com/office/drawing/2014/main" id="{C2C5E71D-B444-4595-8E80-CE9619264562}"/>
                  </a:ext>
                </a:extLst>
              </p:cNvPr>
              <p:cNvSpPr/>
              <p:nvPr/>
            </p:nvSpPr>
            <p:spPr>
              <a:xfrm>
                <a:off x="416838" y="0"/>
                <a:ext cx="64618" cy="1223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10221" y="21600"/>
                    </a:lnTo>
                    <a:lnTo>
                      <a:pt x="10221" y="7449"/>
                    </a:lnTo>
                    <a:lnTo>
                      <a:pt x="21600" y="7449"/>
                    </a:lnTo>
                    <a:lnTo>
                      <a:pt x="11504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89" name="Shape">
                <a:extLst>
                  <a:ext uri="{FF2B5EF4-FFF2-40B4-BE49-F238E27FC236}">
                    <a16:creationId xmlns:a16="http://schemas.microsoft.com/office/drawing/2014/main" id="{F7F75ED6-885C-5C05-E5A9-029BEF963CA1}"/>
                  </a:ext>
                </a:extLst>
              </p:cNvPr>
              <p:cNvSpPr/>
              <p:nvPr/>
            </p:nvSpPr>
            <p:spPr>
              <a:xfrm>
                <a:off x="447414" y="42198"/>
                <a:ext cx="91807" cy="801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008" y="0"/>
                    </a:moveTo>
                    <a:lnTo>
                      <a:pt x="0" y="0"/>
                    </a:lnTo>
                    <a:lnTo>
                      <a:pt x="13499" y="21600"/>
                    </a:lnTo>
                    <a:lnTo>
                      <a:pt x="21600" y="21600"/>
                    </a:lnTo>
                    <a:lnTo>
                      <a:pt x="21600" y="10229"/>
                    </a:lnTo>
                    <a:lnTo>
                      <a:pt x="14401" y="10229"/>
                    </a:lnTo>
                    <a:lnTo>
                      <a:pt x="8008" y="0"/>
                    </a:lnTo>
                    <a:close/>
                  </a:path>
                </a:pathLst>
              </a:cu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90" name="Rectangle">
                <a:extLst>
                  <a:ext uri="{FF2B5EF4-FFF2-40B4-BE49-F238E27FC236}">
                    <a16:creationId xmlns:a16="http://schemas.microsoft.com/office/drawing/2014/main" id="{E740D3ED-185F-386B-76BA-255A047797F7}"/>
                  </a:ext>
                </a:extLst>
              </p:cNvPr>
              <p:cNvSpPr/>
              <p:nvPr/>
            </p:nvSpPr>
            <p:spPr>
              <a:xfrm>
                <a:off x="508623" y="113"/>
                <a:ext cx="30598" cy="80052"/>
              </a:xfrm>
              <a:prstGeom prst="rect">
                <a:avLst/>
              </a:prstGeom>
              <a:solidFill>
                <a:srgbClr val="E630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defTabSz="457200">
                  <a:defRPr sz="1000"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505485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PLATE MASTER">
  <a:themeElements>
    <a:clrScheme name="Transnet colours">
      <a:dk1>
        <a:srgbClr val="000000"/>
      </a:dk1>
      <a:lt1>
        <a:srgbClr val="FFFFFF"/>
      </a:lt1>
      <a:dk2>
        <a:srgbClr val="69614E"/>
      </a:dk2>
      <a:lt2>
        <a:srgbClr val="C2BBAD"/>
      </a:lt2>
      <a:accent1>
        <a:srgbClr val="D32E12"/>
      </a:accent1>
      <a:accent2>
        <a:srgbClr val="7DBA00"/>
      </a:accent2>
      <a:accent3>
        <a:srgbClr val="66594D"/>
      </a:accent3>
      <a:accent4>
        <a:srgbClr val="8C934D"/>
      </a:accent4>
      <a:accent5>
        <a:srgbClr val="7D8F28"/>
      </a:accent5>
      <a:accent6>
        <a:srgbClr val="5C788F"/>
      </a:accent6>
      <a:hlink>
        <a:srgbClr val="87ADB0"/>
      </a:hlink>
      <a:folHlink>
        <a:srgbClr val="E99700"/>
      </a:folHlink>
    </a:clrScheme>
    <a:fontScheme name="Transne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E63C2B"/>
          </a:solidFill>
        </a:ln>
      </a:spPr>
      <a:bodyPr wrap="square" lIns="36000" tIns="36000" rIns="36000" bIns="36000" rtlCol="0" anchor="ctr"/>
      <a:lstStyle>
        <a:defPPr algn="ctr">
          <a:lnSpc>
            <a:spcPct val="110000"/>
          </a:lnSpc>
          <a:spcBef>
            <a:spcPts val="92"/>
          </a:spcBef>
          <a:spcAft>
            <a:spcPts val="92"/>
          </a:spcAft>
          <a:defRPr sz="923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TEMPLATE MASTER">
  <a:themeElements>
    <a:clrScheme name="Transnet colours">
      <a:dk1>
        <a:srgbClr val="000000"/>
      </a:dk1>
      <a:lt1>
        <a:srgbClr val="FFFFFF"/>
      </a:lt1>
      <a:dk2>
        <a:srgbClr val="69614E"/>
      </a:dk2>
      <a:lt2>
        <a:srgbClr val="C2BBAD"/>
      </a:lt2>
      <a:accent1>
        <a:srgbClr val="D32E12"/>
      </a:accent1>
      <a:accent2>
        <a:srgbClr val="7DBA00"/>
      </a:accent2>
      <a:accent3>
        <a:srgbClr val="66594D"/>
      </a:accent3>
      <a:accent4>
        <a:srgbClr val="8C934D"/>
      </a:accent4>
      <a:accent5>
        <a:srgbClr val="7D8F28"/>
      </a:accent5>
      <a:accent6>
        <a:srgbClr val="5C788F"/>
      </a:accent6>
      <a:hlink>
        <a:srgbClr val="87ADB0"/>
      </a:hlink>
      <a:folHlink>
        <a:srgbClr val="E99700"/>
      </a:folHlink>
    </a:clrScheme>
    <a:fontScheme name="Transne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E63C2B"/>
          </a:solidFill>
        </a:ln>
      </a:spPr>
      <a:bodyPr wrap="square" lIns="36000" tIns="36000" rIns="36000" bIns="36000" rtlCol="0" anchor="ctr"/>
      <a:lstStyle>
        <a:defPPr algn="ctr">
          <a:lnSpc>
            <a:spcPct val="110000"/>
          </a:lnSpc>
          <a:spcBef>
            <a:spcPts val="92"/>
          </a:spcBef>
          <a:spcAft>
            <a:spcPts val="92"/>
          </a:spcAft>
          <a:defRPr sz="923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EMPLATE MASTER">
  <a:themeElements>
    <a:clrScheme name="Transnet">
      <a:dk1>
        <a:srgbClr val="000000"/>
      </a:dk1>
      <a:lt1>
        <a:sysClr val="window" lastClr="FFFFFF"/>
      </a:lt1>
      <a:dk2>
        <a:srgbClr val="69614E"/>
      </a:dk2>
      <a:lt2>
        <a:srgbClr val="C2BBAD"/>
      </a:lt2>
      <a:accent1>
        <a:srgbClr val="A1A250"/>
      </a:accent1>
      <a:accent2>
        <a:srgbClr val="6F90A7"/>
      </a:accent2>
      <a:accent3>
        <a:srgbClr val="84B5BD"/>
      </a:accent3>
      <a:accent4>
        <a:srgbClr val="C7B400"/>
      </a:accent4>
      <a:accent5>
        <a:srgbClr val="E42313"/>
      </a:accent5>
      <a:accent6>
        <a:srgbClr val="95C11F"/>
      </a:accent6>
      <a:hlink>
        <a:srgbClr val="00B0F0"/>
      </a:hlink>
      <a:folHlink>
        <a:srgbClr val="7030A0"/>
      </a:folHlink>
    </a:clrScheme>
    <a:fontScheme name="Transne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wrap="square" lIns="36000" tIns="36000" rIns="36000" bIns="36000" rtlCol="0" anchor="ctr"/>
      <a:lstStyle>
        <a:defPPr algn="ctr">
          <a:lnSpc>
            <a:spcPct val="110000"/>
          </a:lnSpc>
          <a:spcBef>
            <a:spcPts val="92"/>
          </a:spcBef>
          <a:spcAft>
            <a:spcPts val="92"/>
          </a:spcAft>
          <a:defRPr sz="923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TEMPLATE MASTER">
  <a:themeElements>
    <a:clrScheme name="Transnet colours">
      <a:dk1>
        <a:srgbClr val="000000"/>
      </a:dk1>
      <a:lt1>
        <a:srgbClr val="FFFFFF"/>
      </a:lt1>
      <a:dk2>
        <a:srgbClr val="69614E"/>
      </a:dk2>
      <a:lt2>
        <a:srgbClr val="C2BBAD"/>
      </a:lt2>
      <a:accent1>
        <a:srgbClr val="D32E12"/>
      </a:accent1>
      <a:accent2>
        <a:srgbClr val="7DBA00"/>
      </a:accent2>
      <a:accent3>
        <a:srgbClr val="66594D"/>
      </a:accent3>
      <a:accent4>
        <a:srgbClr val="8C934D"/>
      </a:accent4>
      <a:accent5>
        <a:srgbClr val="7D8F28"/>
      </a:accent5>
      <a:accent6>
        <a:srgbClr val="5C788F"/>
      </a:accent6>
      <a:hlink>
        <a:srgbClr val="87ADB0"/>
      </a:hlink>
      <a:folHlink>
        <a:srgbClr val="E99700"/>
      </a:folHlink>
    </a:clrScheme>
    <a:fontScheme name="Transne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E63C2B"/>
          </a:solidFill>
        </a:ln>
      </a:spPr>
      <a:bodyPr wrap="square" lIns="36000" tIns="36000" rIns="36000" bIns="36000" rtlCol="0" anchor="ctr"/>
      <a:lstStyle>
        <a:defPPr algn="ctr">
          <a:lnSpc>
            <a:spcPct val="110000"/>
          </a:lnSpc>
          <a:spcBef>
            <a:spcPts val="92"/>
          </a:spcBef>
          <a:spcAft>
            <a:spcPts val="92"/>
          </a:spcAft>
          <a:defRPr sz="923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TEMPLATE MASTER">
  <a:themeElements>
    <a:clrScheme name="Transnet colours">
      <a:dk1>
        <a:srgbClr val="000000"/>
      </a:dk1>
      <a:lt1>
        <a:srgbClr val="FFFFFF"/>
      </a:lt1>
      <a:dk2>
        <a:srgbClr val="69614E"/>
      </a:dk2>
      <a:lt2>
        <a:srgbClr val="C2BBAD"/>
      </a:lt2>
      <a:accent1>
        <a:srgbClr val="D32E12"/>
      </a:accent1>
      <a:accent2>
        <a:srgbClr val="7DBA00"/>
      </a:accent2>
      <a:accent3>
        <a:srgbClr val="66594D"/>
      </a:accent3>
      <a:accent4>
        <a:srgbClr val="8C934D"/>
      </a:accent4>
      <a:accent5>
        <a:srgbClr val="7D8F28"/>
      </a:accent5>
      <a:accent6>
        <a:srgbClr val="5C788F"/>
      </a:accent6>
      <a:hlink>
        <a:srgbClr val="87ADB0"/>
      </a:hlink>
      <a:folHlink>
        <a:srgbClr val="E99700"/>
      </a:folHlink>
    </a:clrScheme>
    <a:fontScheme name="Transne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E63C2B"/>
          </a:solidFill>
        </a:ln>
      </a:spPr>
      <a:bodyPr wrap="square" lIns="36000" tIns="36000" rIns="36000" bIns="36000" rtlCol="0" anchor="ctr"/>
      <a:lstStyle>
        <a:defPPr algn="ctr">
          <a:lnSpc>
            <a:spcPct val="110000"/>
          </a:lnSpc>
          <a:spcBef>
            <a:spcPts val="92"/>
          </a:spcBef>
          <a:spcAft>
            <a:spcPts val="92"/>
          </a:spcAft>
          <a:defRPr sz="923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17C6BC19F3DC47ABADA032AC7C373B" ma:contentTypeVersion="3" ma:contentTypeDescription="Create a new document." ma:contentTypeScope="" ma:versionID="3747d81f0cc4061d7bf49c3fd90287bd">
  <xsd:schema xmlns:xsd="http://www.w3.org/2001/XMLSchema" xmlns:xs="http://www.w3.org/2001/XMLSchema" xmlns:p="http://schemas.microsoft.com/office/2006/metadata/properties" xmlns:ns2="98b382d7-bbc9-46be-b590-b37a68bdbbec" targetNamespace="http://schemas.microsoft.com/office/2006/metadata/properties" ma:root="true" ma:fieldsID="9a3e341f9dd0826a7fbeab0a51339fe0" ns2:_="">
    <xsd:import namespace="98b382d7-bbc9-46be-b590-b37a68bdbbec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b382d7-bbc9-46be-b590-b37a68bdbbe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7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/>
</file>

<file path=customXml/itemProps1.xml><?xml version="1.0" encoding="utf-8"?>
<ds:datastoreItem xmlns:ds="http://schemas.openxmlformats.org/officeDocument/2006/customXml" ds:itemID="{AA27813B-9914-43CF-A582-7199EB9ECE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8b382d7-bbc9-46be-b590-b37a68bdbbe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64AA3A9-A820-4959-AB84-868C8A0F9BD7}">
  <ds:schemaRefs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98b382d7-bbc9-46be-b590-b37a68bdbbec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8E53A0D-FF07-4C70-A30E-133F516FC611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F5DFD081-D9B3-4BB2-B709-8D476532CFE1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0</TotalTime>
  <Words>737</Words>
  <Application>Microsoft Office PowerPoint</Application>
  <PresentationFormat>Widescreen</PresentationFormat>
  <Paragraphs>67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5" baseType="lpstr">
      <vt:lpstr>Apex New Bold</vt:lpstr>
      <vt:lpstr>Apex New Book</vt:lpstr>
      <vt:lpstr>Apex New Medium</vt:lpstr>
      <vt:lpstr>Apex New Medium Italic</vt:lpstr>
      <vt:lpstr>ApexSans-Bold</vt:lpstr>
      <vt:lpstr>ApexSans-Book</vt:lpstr>
      <vt:lpstr>Arial</vt:lpstr>
      <vt:lpstr>Calibri</vt:lpstr>
      <vt:lpstr>Tahoma</vt:lpstr>
      <vt:lpstr>Tahoma Regular</vt:lpstr>
      <vt:lpstr>Wingdings</vt:lpstr>
      <vt:lpstr>1_TEMPLATE MASTER</vt:lpstr>
      <vt:lpstr>1_TEMPLATE MASTER</vt:lpstr>
      <vt:lpstr>TEMPLATE MASTER</vt:lpstr>
      <vt:lpstr>2_TEMPLATE MASTER</vt:lpstr>
      <vt:lpstr>3_TEMPLATE MASTER</vt:lpstr>
      <vt:lpstr>think-cell Slide</vt:lpstr>
      <vt:lpstr>   iCLM HQ 885/TPT-SUPPLY OF MATERIAL AND THE CONSTRUCTION OF STORM WATER &amp; ENVIRONMNETAL SYSTEMS AT SALDANHA TERMINAL AT THE TRANSNET PORT TERMINALS (TPT), BULK TERMINAL SALDANHA (BTS).         Specific goals--Enterprise &amp; Supplier Development &amp; Localisation </vt:lpstr>
      <vt:lpstr>Transformational Specific Goals as per Transnet Preferential Procurement Policy (TPPP)</vt:lpstr>
      <vt:lpstr>VALID SWORN AFFIDAVIT</vt:lpstr>
      <vt:lpstr>VALID SWORN AFFIDAVIT</vt:lpstr>
      <vt:lpstr>COMMON MISTAKES </vt:lpstr>
      <vt:lpstr>PowerPoint Presentation</vt:lpstr>
      <vt:lpstr>Joint Venture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endy Strauss</dc:creator>
  <cp:lastModifiedBy>Lungelo Manci   Transnet Port Terminals   Durban</cp:lastModifiedBy>
  <cp:revision>18</cp:revision>
  <cp:lastPrinted>2020-07-17T12:09:20Z</cp:lastPrinted>
  <dcterms:created xsi:type="dcterms:W3CDTF">2020-05-19T16:46:16Z</dcterms:created>
  <dcterms:modified xsi:type="dcterms:W3CDTF">2025-03-12T07:5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17C6BC19F3DC47ABADA032AC7C373B</vt:lpwstr>
  </property>
  <property fmtid="{D5CDD505-2E9C-101B-9397-08002B2CF9AE}" pid="3" name="MediaServiceImageTags">
    <vt:lpwstr/>
  </property>
  <property fmtid="{D5CDD505-2E9C-101B-9397-08002B2CF9AE}" pid="4" name="MSIP_Label_58cf86ee-526f-4536-9daf-d1ee8064d50e_Enabled">
    <vt:lpwstr>true</vt:lpwstr>
  </property>
  <property fmtid="{D5CDD505-2E9C-101B-9397-08002B2CF9AE}" pid="5" name="MSIP_Label_58cf86ee-526f-4536-9daf-d1ee8064d50e_SetDate">
    <vt:lpwstr>2025-03-12T05:46:31Z</vt:lpwstr>
  </property>
  <property fmtid="{D5CDD505-2E9C-101B-9397-08002B2CF9AE}" pid="6" name="MSIP_Label_58cf86ee-526f-4536-9daf-d1ee8064d50e_Method">
    <vt:lpwstr>Standard</vt:lpwstr>
  </property>
  <property fmtid="{D5CDD505-2E9C-101B-9397-08002B2CF9AE}" pid="7" name="MSIP_Label_58cf86ee-526f-4536-9daf-d1ee8064d50e_Name">
    <vt:lpwstr>Internal Only Information</vt:lpwstr>
  </property>
  <property fmtid="{D5CDD505-2E9C-101B-9397-08002B2CF9AE}" pid="8" name="MSIP_Label_58cf86ee-526f-4536-9daf-d1ee8064d50e_SiteId">
    <vt:lpwstr>a1a39996-f913-4016-a58a-361c60dec580</vt:lpwstr>
  </property>
  <property fmtid="{D5CDD505-2E9C-101B-9397-08002B2CF9AE}" pid="9" name="MSIP_Label_58cf86ee-526f-4536-9daf-d1ee8064d50e_ActionId">
    <vt:lpwstr>65c68314-935a-4a7e-a706-66d0f1cea946</vt:lpwstr>
  </property>
  <property fmtid="{D5CDD505-2E9C-101B-9397-08002B2CF9AE}" pid="10" name="MSIP_Label_58cf86ee-526f-4536-9daf-d1ee8064d50e_ContentBits">
    <vt:lpwstr>0</vt:lpwstr>
  </property>
</Properties>
</file>